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74" r:id="rId2"/>
    <p:sldId id="419" r:id="rId3"/>
    <p:sldId id="407" r:id="rId4"/>
    <p:sldId id="408" r:id="rId5"/>
    <p:sldId id="409" r:id="rId6"/>
    <p:sldId id="417" r:id="rId7"/>
    <p:sldId id="411" r:id="rId8"/>
    <p:sldId id="418" r:id="rId9"/>
    <p:sldId id="414" r:id="rId10"/>
    <p:sldId id="397" r:id="rId11"/>
  </p:sldIdLst>
  <p:sldSz cx="9144000" cy="6858000" type="screen4x3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DDFF"/>
    <a:srgbClr val="EEE7FF"/>
    <a:srgbClr val="E1F1FF"/>
    <a:srgbClr val="E2E2E2"/>
    <a:srgbClr val="DDF0FF"/>
    <a:srgbClr val="EAEAEA"/>
    <a:srgbClr val="D2E1FE"/>
    <a:srgbClr val="CCECFF"/>
    <a:srgbClr val="9BFF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344D84-9AFB-497E-A393-DC336BA19D2E}" styleName="Средний стиль 3 -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9631B5-78F2-41C9-869B-9F39066F8104}" styleName="Средний стиль 3 -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52" autoAdjust="0"/>
    <p:restoredTop sz="94681" autoAdjust="0"/>
  </p:normalViewPr>
  <p:slideViewPr>
    <p:cSldViewPr>
      <p:cViewPr>
        <p:scale>
          <a:sx n="100" d="100"/>
          <a:sy n="100" d="100"/>
        </p:scale>
        <p:origin x="114" y="12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&#1050;&#1085;&#1080;&#1075;&#1072;1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&#1058;&#1077;&#1093;&#1087;&#1088;&#1080;&#1089;&#1086;&#1077;&#1076;&#1080;&#1085;&#1077;&#1085;&#1080;&#1077;\&#1053;&#1086;&#1089;&#1086;&#1074;&#1072;\&#1088;&#1077;&#1075;&#1080;&#1086;&#1085;&#1072;&#1083;&#1100;&#1085;&#1086;&#1077;%20&#1089;&#1086;&#1074;&#1077;&#1097;&#1072;&#1085;&#1080;&#1077;%20&#1084;&#1072;&#1088;&#1090;%202014\&#1050;&#1085;&#1080;&#1075;&#1072;1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&#1058;&#1077;&#1093;&#1087;&#1088;&#1080;&#1089;&#1086;&#1077;&#1076;&#1080;&#1085;&#1077;&#1085;&#1080;&#1077;\&#1053;&#1086;&#1089;&#1086;&#1074;&#1072;\&#1088;&#1077;&#1075;&#1080;&#1086;&#1085;&#1072;&#1083;&#1100;&#1085;&#1086;&#1077;%20&#1089;&#1086;&#1074;&#1077;&#1097;&#1072;&#1085;&#1080;&#1077;%20&#1084;&#1072;&#1088;&#1090;%202014\&#1050;&#1085;&#1080;&#1075;&#1072;1.xlsx" TargetMode="External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C:\&#1058;&#1077;&#1093;&#1087;&#1088;&#1080;&#1089;&#1086;&#1077;&#1076;&#1080;&#1085;&#1077;&#1085;&#1080;&#1077;\&#1053;&#1086;&#1089;&#1086;&#1074;&#1072;\&#1088;&#1077;&#1075;&#1080;&#1086;&#1085;&#1072;&#1083;&#1100;&#1085;&#1086;&#1077;%20&#1089;&#1086;&#1074;&#1077;&#1097;&#1072;&#1085;&#1080;&#1077;%20&#1084;&#1072;&#1088;&#1090;%202014\&#1050;&#1085;&#1080;&#1075;&#1072;1.xlsx" TargetMode="External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9.857182535273859E-2"/>
          <c:y val="0.16175524718770057"/>
          <c:w val="0.84270603674540689"/>
          <c:h val="0.80285469524642761"/>
        </c:manualLayout>
      </c:layout>
      <c:lineChart>
        <c:grouping val="standard"/>
        <c:varyColors val="0"/>
        <c:ser>
          <c:idx val="0"/>
          <c:order val="0"/>
          <c:spPr>
            <a:ln>
              <a:solidFill>
                <a:srgbClr val="2D2D8A"/>
              </a:solidFill>
            </a:ln>
          </c:spPr>
          <c:marker>
            <c:symbol val="circle"/>
            <c:size val="7"/>
            <c:spPr>
              <a:solidFill>
                <a:srgbClr val="333399"/>
              </a:solidFill>
              <a:ln>
                <a:solidFill>
                  <a:srgbClr val="2D2D8A"/>
                </a:solidFill>
              </a:ln>
            </c:spPr>
          </c:marker>
          <c:dLbls>
            <c:dLbl>
              <c:idx val="0"/>
              <c:layout>
                <c:manualLayout>
                  <c:x val="4.1666666666666685E-2"/>
                  <c:y val="0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[Книга1]Лист1!$A$2:$A$8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[Книга1]Лист1!$B$2:$B$8</c:f>
              <c:numCache>
                <c:formatCode>General</c:formatCode>
                <c:ptCount val="7"/>
                <c:pt idx="0">
                  <c:v>183</c:v>
                </c:pt>
                <c:pt idx="1">
                  <c:v>177</c:v>
                </c:pt>
                <c:pt idx="2">
                  <c:v>113</c:v>
                </c:pt>
                <c:pt idx="3">
                  <c:v>60</c:v>
                </c:pt>
                <c:pt idx="4">
                  <c:v>56</c:v>
                </c:pt>
                <c:pt idx="5">
                  <c:v>54</c:v>
                </c:pt>
                <c:pt idx="6">
                  <c:v>20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65841152"/>
        <c:axId val="180441856"/>
      </c:lineChart>
      <c:catAx>
        <c:axId val="165841152"/>
        <c:scaling>
          <c:orientation val="minMax"/>
        </c:scaling>
        <c:delete val="0"/>
        <c:axPos val="t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180441856"/>
        <c:crossesAt val="0"/>
        <c:auto val="1"/>
        <c:lblAlgn val="ctr"/>
        <c:lblOffset val="100"/>
        <c:noMultiLvlLbl val="0"/>
      </c:catAx>
      <c:valAx>
        <c:axId val="18044185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165841152"/>
        <c:crosses val="autoZero"/>
        <c:crossBetween val="midCat"/>
        <c:majorUnit val="50"/>
      </c:valAx>
    </c:plotArea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5772357723577244E-2"/>
          <c:y val="0.11733323478573458"/>
          <c:w val="0.92845528455284554"/>
          <c:h val="0.58953777256670026"/>
        </c:manualLayout>
      </c:layout>
      <c:barChart>
        <c:barDir val="col"/>
        <c:grouping val="stacked"/>
        <c:varyColors val="1"/>
        <c:ser>
          <c:idx val="0"/>
          <c:order val="0"/>
          <c:spPr>
            <a:ln>
              <a:solidFill>
                <a:sysClr val="windowText" lastClr="000000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ysClr val="windowText" lastClr="000000"/>
                </a:solidFill>
              </a:ln>
            </c:spPr>
          </c:dPt>
          <c:dPt>
            <c:idx val="1"/>
            <c:invertIfNegative val="0"/>
            <c:bubble3D val="0"/>
            <c:spPr>
              <a:solidFill>
                <a:srgbClr val="333399">
                  <a:lumMod val="20000"/>
                  <a:lumOff val="80000"/>
                </a:srgbClr>
              </a:solidFill>
              <a:ln>
                <a:solidFill>
                  <a:sysClr val="windowText" lastClr="000000"/>
                </a:solidFill>
              </a:ln>
            </c:spPr>
          </c:dPt>
          <c:dPt>
            <c:idx val="2"/>
            <c:invertIfNegative val="0"/>
            <c:bubble3D val="0"/>
            <c:spPr>
              <a:solidFill>
                <a:srgbClr val="333399">
                  <a:lumMod val="40000"/>
                  <a:lumOff val="60000"/>
                </a:srgbClr>
              </a:solidFill>
              <a:ln>
                <a:solidFill>
                  <a:srgbClr val="000000"/>
                </a:solidFill>
              </a:ln>
            </c:spPr>
          </c:dPt>
          <c:dLbls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[Книга1.xlsx]Лист1!$A$13:$A$15</c:f>
              <c:numCache>
                <c:formatCode>General</c:formatCode>
                <c:ptCount val="3"/>
                <c:pt idx="0">
                  <c:v>2012</c:v>
                </c:pt>
                <c:pt idx="1">
                  <c:v>2015</c:v>
                </c:pt>
                <c:pt idx="2">
                  <c:v>2018</c:v>
                </c:pt>
              </c:numCache>
            </c:numRef>
          </c:cat>
          <c:val>
            <c:numRef>
              <c:f>[Книга1.xlsx]Лист1!$B$13:$B$15</c:f>
              <c:numCache>
                <c:formatCode>General</c:formatCode>
                <c:ptCount val="3"/>
                <c:pt idx="0">
                  <c:v>10</c:v>
                </c:pt>
                <c:pt idx="1">
                  <c:v>6</c:v>
                </c:pt>
                <c:pt idx="2">
                  <c:v>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41871616"/>
        <c:axId val="41872768"/>
      </c:barChart>
      <c:catAx>
        <c:axId val="418716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41872768"/>
        <c:crosses val="autoZero"/>
        <c:auto val="1"/>
        <c:lblAlgn val="ctr"/>
        <c:lblOffset val="100"/>
        <c:noMultiLvlLbl val="0"/>
      </c:catAx>
      <c:valAx>
        <c:axId val="418727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41871616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5772357723577258E-2"/>
          <c:y val="0.11733323478573461"/>
          <c:w val="0.92845528455284554"/>
          <c:h val="0.58953777256670026"/>
        </c:manualLayout>
      </c:layout>
      <c:barChart>
        <c:barDir val="col"/>
        <c:grouping val="stacked"/>
        <c:varyColors val="1"/>
        <c:ser>
          <c:idx val="0"/>
          <c:order val="0"/>
          <c:spPr>
            <a:ln>
              <a:solidFill>
                <a:sysClr val="windowText" lastClr="000000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ysClr val="windowText" lastClr="000000"/>
                </a:solidFill>
              </a:ln>
            </c:spPr>
          </c:dPt>
          <c:dPt>
            <c:idx val="1"/>
            <c:invertIfNegative val="0"/>
            <c:bubble3D val="0"/>
            <c:spPr>
              <a:solidFill>
                <a:srgbClr val="333399">
                  <a:lumMod val="20000"/>
                  <a:lumOff val="80000"/>
                </a:srgbClr>
              </a:solidFill>
              <a:ln>
                <a:solidFill>
                  <a:sysClr val="windowText" lastClr="000000"/>
                </a:solidFill>
              </a:ln>
            </c:spPr>
          </c:dPt>
          <c:dPt>
            <c:idx val="2"/>
            <c:invertIfNegative val="0"/>
            <c:bubble3D val="0"/>
            <c:spPr>
              <a:solidFill>
                <a:srgbClr val="333399">
                  <a:lumMod val="40000"/>
                  <a:lumOff val="60000"/>
                </a:srgbClr>
              </a:solidFill>
              <a:ln>
                <a:solidFill>
                  <a:sysClr val="windowText" lastClr="000000"/>
                </a:solidFill>
              </a:ln>
            </c:spPr>
          </c:dPt>
          <c:dLbls>
            <c:dLbl>
              <c:idx val="1"/>
              <c:layout>
                <c:manualLayout>
                  <c:x val="0"/>
                  <c:y val="-0.1623186923942098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"/>
                  <c:y val="-0.1623186923942098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[Книга1.xlsx]Лист1!$A$13:$A$15</c:f>
              <c:numCache>
                <c:formatCode>General</c:formatCode>
                <c:ptCount val="3"/>
                <c:pt idx="0">
                  <c:v>2012</c:v>
                </c:pt>
                <c:pt idx="1">
                  <c:v>2015</c:v>
                </c:pt>
                <c:pt idx="2">
                  <c:v>2018</c:v>
                </c:pt>
              </c:numCache>
            </c:numRef>
          </c:cat>
          <c:val>
            <c:numRef>
              <c:f>[Книга1.xlsx]Лист1!$C$13:$C$15</c:f>
              <c:numCache>
                <c:formatCode>General</c:formatCode>
                <c:ptCount val="3"/>
                <c:pt idx="0">
                  <c:v>281</c:v>
                </c:pt>
                <c:pt idx="1">
                  <c:v>45</c:v>
                </c:pt>
                <c:pt idx="2">
                  <c:v>4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44898176"/>
        <c:axId val="44902272"/>
      </c:barChart>
      <c:catAx>
        <c:axId val="448981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44902272"/>
        <c:crosses val="autoZero"/>
        <c:auto val="1"/>
        <c:lblAlgn val="ctr"/>
        <c:lblOffset val="100"/>
        <c:noMultiLvlLbl val="0"/>
      </c:catAx>
      <c:valAx>
        <c:axId val="449022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44898176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5772357723577272E-2"/>
          <c:y val="0.11733323478573462"/>
          <c:w val="0.92845528455284554"/>
          <c:h val="0.58953777256670026"/>
        </c:manualLayout>
      </c:layout>
      <c:barChart>
        <c:barDir val="col"/>
        <c:grouping val="stacked"/>
        <c:varyColors val="1"/>
        <c:ser>
          <c:idx val="0"/>
          <c:order val="0"/>
          <c:spPr>
            <a:ln>
              <a:solidFill>
                <a:sysClr val="windowText" lastClr="000000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ysClr val="windowText" lastClr="000000"/>
                </a:solidFill>
              </a:ln>
            </c:spPr>
          </c:dPt>
          <c:dPt>
            <c:idx val="1"/>
            <c:invertIfNegative val="0"/>
            <c:bubble3D val="0"/>
            <c:spPr>
              <a:solidFill>
                <a:srgbClr val="333399">
                  <a:lumMod val="20000"/>
                  <a:lumOff val="80000"/>
                </a:srgbClr>
              </a:solidFill>
              <a:ln>
                <a:solidFill>
                  <a:sysClr val="windowText" lastClr="000000"/>
                </a:solidFill>
              </a:ln>
            </c:spPr>
          </c:dPt>
          <c:dPt>
            <c:idx val="2"/>
            <c:invertIfNegative val="0"/>
            <c:bubble3D val="0"/>
            <c:spPr>
              <a:solidFill>
                <a:srgbClr val="333399">
                  <a:lumMod val="40000"/>
                  <a:lumOff val="60000"/>
                </a:srgbClr>
              </a:solidFill>
              <a:ln>
                <a:solidFill>
                  <a:sysClr val="windowText" lastClr="000000"/>
                </a:solidFill>
              </a:ln>
            </c:spPr>
          </c:dPt>
          <c:dLbls>
            <c:dLbl>
              <c:idx val="2"/>
              <c:layout>
                <c:manualLayout>
                  <c:x val="0"/>
                  <c:y val="-0.1275361154525934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[Книга1.xlsx]Лист1!$A$13:$A$15</c:f>
              <c:numCache>
                <c:formatCode>General</c:formatCode>
                <c:ptCount val="3"/>
                <c:pt idx="0">
                  <c:v>2012</c:v>
                </c:pt>
                <c:pt idx="1">
                  <c:v>2015</c:v>
                </c:pt>
                <c:pt idx="2">
                  <c:v>2018</c:v>
                </c:pt>
              </c:numCache>
            </c:numRef>
          </c:cat>
          <c:val>
            <c:numRef>
              <c:f>[Книга1.xlsx]Лист1!$D$13:$D$15</c:f>
              <c:numCache>
                <c:formatCode>General</c:formatCode>
                <c:ptCount val="3"/>
                <c:pt idx="0">
                  <c:v>1852</c:v>
                </c:pt>
                <c:pt idx="1">
                  <c:v>938</c:v>
                </c:pt>
                <c:pt idx="2">
                  <c:v>2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44908928"/>
        <c:axId val="44913024"/>
      </c:barChart>
      <c:catAx>
        <c:axId val="449089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44913024"/>
        <c:crosses val="autoZero"/>
        <c:auto val="1"/>
        <c:lblAlgn val="ctr"/>
        <c:lblOffset val="100"/>
        <c:noMultiLvlLbl val="0"/>
      </c:catAx>
      <c:valAx>
        <c:axId val="4491302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44908928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686BDA5-D287-422C-BED3-76956438C7AF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EEB1AF3-38BE-4E17-A400-0AB9F6787B14}">
      <dgm:prSet phldrT="[Текст]" custT="1"/>
      <dgm:spPr>
        <a:solidFill>
          <a:schemeClr val="accent2">
            <a:lumMod val="20000"/>
            <a:lumOff val="80000"/>
          </a:schemeClr>
        </a:solidFill>
        <a:ln w="12700">
          <a:solidFill>
            <a:schemeClr val="accent2"/>
          </a:solidFill>
        </a:ln>
        <a:effectLst>
          <a:outerShdw blurRad="40005" dist="20320" dir="5400000" algn="t" rotWithShape="0">
            <a:prstClr val="black">
              <a:alpha val="40000"/>
            </a:prstClr>
          </a:outerShdw>
        </a:effectLst>
      </dgm:spPr>
      <dgm:t>
        <a:bodyPr anchor="ctr"/>
        <a:lstStyle/>
        <a:p>
          <a:pPr algn="ctr">
            <a:lnSpc>
              <a:spcPct val="100000"/>
            </a:lnSpc>
            <a:spcAft>
              <a:spcPts val="600"/>
            </a:spcAft>
          </a:pPr>
          <a:r>
            <a:rPr lang="ru-RU" sz="1500" dirty="0" smtClean="0">
              <a:solidFill>
                <a:schemeClr val="tx1"/>
              </a:solidFill>
            </a:rPr>
            <a:t>Федеральный закон от 26.03.2003 № 35 «Об электроэнергетике»</a:t>
          </a:r>
          <a:endParaRPr lang="ru-RU" sz="1500" dirty="0">
            <a:solidFill>
              <a:schemeClr val="tx1"/>
            </a:solidFill>
          </a:endParaRPr>
        </a:p>
      </dgm:t>
    </dgm:pt>
    <dgm:pt modelId="{20D1345D-267B-49FA-80ED-C614C78514AF}" type="parTrans" cxnId="{4F616836-D67D-4073-9C14-DA818F806A7E}">
      <dgm:prSet/>
      <dgm:spPr/>
      <dgm:t>
        <a:bodyPr/>
        <a:lstStyle/>
        <a:p>
          <a:pPr algn="ctr">
            <a:spcAft>
              <a:spcPts val="600"/>
            </a:spcAft>
          </a:pPr>
          <a:endParaRPr lang="ru-RU" sz="1500"/>
        </a:p>
      </dgm:t>
    </dgm:pt>
    <dgm:pt modelId="{4D949FDE-633C-46FA-BD22-AFEB0B8D8C05}" type="sibTrans" cxnId="{4F616836-D67D-4073-9C14-DA818F806A7E}">
      <dgm:prSet/>
      <dgm:spPr/>
      <dgm:t>
        <a:bodyPr/>
        <a:lstStyle/>
        <a:p>
          <a:pPr algn="ctr">
            <a:spcAft>
              <a:spcPts val="600"/>
            </a:spcAft>
          </a:pPr>
          <a:endParaRPr lang="ru-RU" sz="1500"/>
        </a:p>
      </dgm:t>
    </dgm:pt>
    <dgm:pt modelId="{25ECD01E-4D92-46E6-9204-5FACF9B43C32}">
      <dgm:prSet custT="1"/>
      <dgm:spPr>
        <a:solidFill>
          <a:schemeClr val="accent2">
            <a:lumMod val="20000"/>
            <a:lumOff val="80000"/>
          </a:schemeClr>
        </a:solidFill>
        <a:ln w="12700">
          <a:solidFill>
            <a:schemeClr val="accent2"/>
          </a:solidFill>
        </a:ln>
        <a:effectLst>
          <a:outerShdw blurRad="40005" dist="20320" dir="5400000" algn="t" rotWithShape="0">
            <a:prstClr val="black">
              <a:alpha val="40000"/>
            </a:prstClr>
          </a:outerShdw>
        </a:effectLst>
      </dgm:spPr>
      <dgm:t>
        <a:bodyPr/>
        <a:lstStyle/>
        <a:p>
          <a:pPr algn="ctr">
            <a:lnSpc>
              <a:spcPct val="100000"/>
            </a:lnSpc>
            <a:spcAft>
              <a:spcPts val="600"/>
            </a:spcAft>
          </a:pPr>
          <a:r>
            <a:rPr lang="ru-RU" sz="1500" dirty="0" smtClean="0">
              <a:solidFill>
                <a:schemeClr val="tx1"/>
              </a:solidFill>
            </a:rPr>
            <a:t>Постановление Правительства РФ от 27.12.2004 № 861 «Об утверждении Правил недискриминационного доступа к услугам по передаче электрической энергии и оказания этих услуг, Правил недискриминационного доступа к услугам по оперативно-диспетчерскому управлению в электроэнергетике и оказания этих услуг, Правил недискриминационного доступа к услугам администратора торговой системы оптового рынка и оказания этих услуг и Правил технологического присоединения энергопринимающих устройств потребителей электрической энергии, объектов по производству электрической энергии, а также объектов электросетевого хозяйства, принадлежащих сетевым организациям и иным лицам, к электрическим сетям»</a:t>
          </a:r>
          <a:endParaRPr lang="ru-RU" sz="1500" dirty="0">
            <a:solidFill>
              <a:schemeClr val="tx1"/>
            </a:solidFill>
          </a:endParaRPr>
        </a:p>
      </dgm:t>
    </dgm:pt>
    <dgm:pt modelId="{2C287F80-A8B3-4929-BD48-B6E07A0D7322}" type="parTrans" cxnId="{20D32024-1C47-436B-9873-EEDB475DF832}">
      <dgm:prSet/>
      <dgm:spPr/>
      <dgm:t>
        <a:bodyPr/>
        <a:lstStyle/>
        <a:p>
          <a:pPr algn="ctr">
            <a:spcAft>
              <a:spcPts val="600"/>
            </a:spcAft>
          </a:pPr>
          <a:endParaRPr lang="ru-RU" sz="1500"/>
        </a:p>
      </dgm:t>
    </dgm:pt>
    <dgm:pt modelId="{42F96F8F-DE18-48FB-AEE3-99C13C59D124}" type="sibTrans" cxnId="{20D32024-1C47-436B-9873-EEDB475DF832}">
      <dgm:prSet/>
      <dgm:spPr/>
      <dgm:t>
        <a:bodyPr/>
        <a:lstStyle/>
        <a:p>
          <a:pPr algn="ctr">
            <a:spcAft>
              <a:spcPts val="600"/>
            </a:spcAft>
          </a:pPr>
          <a:endParaRPr lang="ru-RU" sz="1500"/>
        </a:p>
      </dgm:t>
    </dgm:pt>
    <dgm:pt modelId="{E7E8D7C0-2850-491B-9E7E-3535C6F5911D}">
      <dgm:prSet custT="1"/>
      <dgm:spPr>
        <a:solidFill>
          <a:schemeClr val="accent2">
            <a:lumMod val="20000"/>
            <a:lumOff val="80000"/>
          </a:schemeClr>
        </a:solidFill>
        <a:ln w="12700">
          <a:solidFill>
            <a:schemeClr val="accent2"/>
          </a:solidFill>
        </a:ln>
        <a:effectLst>
          <a:outerShdw blurRad="40005" dist="20320" dir="5400000" algn="t" rotWithShape="0">
            <a:prstClr val="black">
              <a:alpha val="40000"/>
            </a:prstClr>
          </a:outerShdw>
        </a:effectLst>
      </dgm:spPr>
      <dgm:t>
        <a:bodyPr/>
        <a:lstStyle/>
        <a:p>
          <a:pPr algn="ctr">
            <a:lnSpc>
              <a:spcPct val="100000"/>
            </a:lnSpc>
            <a:spcAft>
              <a:spcPts val="600"/>
            </a:spcAft>
          </a:pPr>
          <a:r>
            <a:rPr lang="ru-RU" sz="1500" dirty="0" smtClean="0">
              <a:solidFill>
                <a:schemeClr val="tx1"/>
              </a:solidFill>
            </a:rPr>
            <a:t>Постановление Правительства РФ от 29.12.2011 № 1178 «О ценообразовании в области регулируемых цен (тарифов) в электроэнергетике»</a:t>
          </a:r>
          <a:endParaRPr lang="ru-RU" sz="1500" dirty="0">
            <a:solidFill>
              <a:schemeClr val="tx1"/>
            </a:solidFill>
          </a:endParaRPr>
        </a:p>
      </dgm:t>
    </dgm:pt>
    <dgm:pt modelId="{3F88072B-4AAB-4737-9C43-18869A141A00}" type="parTrans" cxnId="{5A84FB91-C514-4198-8A24-D73845DCD117}">
      <dgm:prSet/>
      <dgm:spPr/>
      <dgm:t>
        <a:bodyPr/>
        <a:lstStyle/>
        <a:p>
          <a:pPr algn="ctr">
            <a:spcAft>
              <a:spcPts val="600"/>
            </a:spcAft>
          </a:pPr>
          <a:endParaRPr lang="ru-RU" sz="1500"/>
        </a:p>
      </dgm:t>
    </dgm:pt>
    <dgm:pt modelId="{E1F02C59-6121-4FA5-8269-522793CA38AC}" type="sibTrans" cxnId="{5A84FB91-C514-4198-8A24-D73845DCD117}">
      <dgm:prSet/>
      <dgm:spPr/>
      <dgm:t>
        <a:bodyPr/>
        <a:lstStyle/>
        <a:p>
          <a:pPr algn="ctr">
            <a:spcAft>
              <a:spcPts val="600"/>
            </a:spcAft>
          </a:pPr>
          <a:endParaRPr lang="ru-RU" sz="1500"/>
        </a:p>
      </dgm:t>
    </dgm:pt>
    <dgm:pt modelId="{442AB6CB-236D-4432-AFC3-FD5AFC366B85}">
      <dgm:prSet custT="1"/>
      <dgm:spPr>
        <a:solidFill>
          <a:schemeClr val="accent2">
            <a:lumMod val="20000"/>
            <a:lumOff val="80000"/>
          </a:schemeClr>
        </a:solidFill>
        <a:ln w="12700">
          <a:solidFill>
            <a:schemeClr val="accent2"/>
          </a:solidFill>
        </a:ln>
        <a:effectLst>
          <a:outerShdw blurRad="40005" dist="20320" dir="5400000" algn="t" rotWithShape="0">
            <a:prstClr val="black">
              <a:alpha val="40000"/>
            </a:prstClr>
          </a:outerShdw>
        </a:effectLst>
      </dgm:spPr>
      <dgm:t>
        <a:bodyPr/>
        <a:lstStyle/>
        <a:p>
          <a:pPr algn="ctr">
            <a:lnSpc>
              <a:spcPct val="100000"/>
            </a:lnSpc>
            <a:spcAft>
              <a:spcPts val="600"/>
            </a:spcAft>
          </a:pPr>
          <a:r>
            <a:rPr lang="ru-RU" sz="1500" dirty="0" smtClean="0">
              <a:solidFill>
                <a:schemeClr val="tx1"/>
              </a:solidFill>
            </a:rPr>
            <a:t>Постановление Правительства РФ от 21.01.2004 № 24 «Об утверждении стандартов раскрытия информации субъектами оптового и розничных рынков электрической энергии»</a:t>
          </a:r>
          <a:endParaRPr lang="ru-RU" sz="1500" dirty="0">
            <a:solidFill>
              <a:schemeClr val="tx1"/>
            </a:solidFill>
          </a:endParaRPr>
        </a:p>
      </dgm:t>
    </dgm:pt>
    <dgm:pt modelId="{6FCD1098-CB00-4F6B-A907-2C752E2D4683}" type="parTrans" cxnId="{E0DA3BCF-BA95-4929-9673-6B8F455FC08A}">
      <dgm:prSet/>
      <dgm:spPr/>
      <dgm:t>
        <a:bodyPr/>
        <a:lstStyle/>
        <a:p>
          <a:pPr algn="ctr">
            <a:spcAft>
              <a:spcPts val="600"/>
            </a:spcAft>
          </a:pPr>
          <a:endParaRPr lang="ru-RU" sz="1500"/>
        </a:p>
      </dgm:t>
    </dgm:pt>
    <dgm:pt modelId="{B12B8EFE-84A6-4214-B720-6200691CBD0E}" type="sibTrans" cxnId="{E0DA3BCF-BA95-4929-9673-6B8F455FC08A}">
      <dgm:prSet/>
      <dgm:spPr/>
      <dgm:t>
        <a:bodyPr/>
        <a:lstStyle/>
        <a:p>
          <a:pPr algn="ctr">
            <a:spcAft>
              <a:spcPts val="600"/>
            </a:spcAft>
          </a:pPr>
          <a:endParaRPr lang="ru-RU" sz="1500"/>
        </a:p>
      </dgm:t>
    </dgm:pt>
    <dgm:pt modelId="{8F98F0BD-B364-4DBA-A552-E49DF78C489E}">
      <dgm:prSet custT="1"/>
      <dgm:spPr>
        <a:solidFill>
          <a:schemeClr val="accent2">
            <a:lumMod val="20000"/>
            <a:lumOff val="80000"/>
          </a:schemeClr>
        </a:solidFill>
        <a:ln w="12700">
          <a:solidFill>
            <a:schemeClr val="accent2"/>
          </a:solidFill>
        </a:ln>
        <a:effectLst>
          <a:outerShdw blurRad="40005" dist="20320" dir="5400000" algn="t" rotWithShape="0">
            <a:prstClr val="black">
              <a:alpha val="40000"/>
            </a:prstClr>
          </a:outerShdw>
        </a:effectLst>
      </dgm:spPr>
      <dgm:t>
        <a:bodyPr/>
        <a:lstStyle/>
        <a:p>
          <a:pPr algn="ctr">
            <a:lnSpc>
              <a:spcPct val="100000"/>
            </a:lnSpc>
            <a:spcAft>
              <a:spcPts val="600"/>
            </a:spcAft>
          </a:pPr>
          <a:r>
            <a:rPr lang="ru-RU" sz="1500" dirty="0" smtClean="0">
              <a:solidFill>
                <a:schemeClr val="tx1"/>
              </a:solidFill>
            </a:rPr>
            <a:t>Методические указания по определению размера платы за технологическое присоединение к электрическим сетям, утвержденные приказом Федеральной службы по тарифам </a:t>
          </a:r>
          <a:br>
            <a:rPr lang="ru-RU" sz="1500" dirty="0" smtClean="0">
              <a:solidFill>
                <a:schemeClr val="tx1"/>
              </a:solidFill>
            </a:rPr>
          </a:br>
          <a:r>
            <a:rPr lang="ru-RU" sz="1500" dirty="0" smtClean="0">
              <a:solidFill>
                <a:schemeClr val="tx1"/>
              </a:solidFill>
            </a:rPr>
            <a:t>от  11.09.2012 № 209-э/1</a:t>
          </a:r>
          <a:endParaRPr lang="ru-RU" sz="1500" dirty="0">
            <a:solidFill>
              <a:schemeClr val="tx1"/>
            </a:solidFill>
          </a:endParaRPr>
        </a:p>
      </dgm:t>
    </dgm:pt>
    <dgm:pt modelId="{E37A8050-DE37-4D9B-B13B-5429A4E06D49}" type="parTrans" cxnId="{62A7A5E9-5B1E-4E59-95D4-29AC5A9653FA}">
      <dgm:prSet/>
      <dgm:spPr/>
      <dgm:t>
        <a:bodyPr/>
        <a:lstStyle/>
        <a:p>
          <a:pPr algn="ctr">
            <a:spcAft>
              <a:spcPts val="600"/>
            </a:spcAft>
          </a:pPr>
          <a:endParaRPr lang="ru-RU" sz="1500"/>
        </a:p>
      </dgm:t>
    </dgm:pt>
    <dgm:pt modelId="{3CBBA2FD-27A4-43DD-9964-64DD6A847246}" type="sibTrans" cxnId="{62A7A5E9-5B1E-4E59-95D4-29AC5A9653FA}">
      <dgm:prSet/>
      <dgm:spPr/>
      <dgm:t>
        <a:bodyPr/>
        <a:lstStyle/>
        <a:p>
          <a:pPr algn="ctr">
            <a:spcAft>
              <a:spcPts val="600"/>
            </a:spcAft>
          </a:pPr>
          <a:endParaRPr lang="ru-RU" sz="1500"/>
        </a:p>
      </dgm:t>
    </dgm:pt>
    <dgm:pt modelId="{7E7200BB-EDC2-40A4-929E-F17D84D12567}">
      <dgm:prSet custT="1"/>
      <dgm:spPr>
        <a:solidFill>
          <a:schemeClr val="accent2">
            <a:lumMod val="20000"/>
            <a:lumOff val="80000"/>
          </a:schemeClr>
        </a:solidFill>
        <a:ln w="12700">
          <a:solidFill>
            <a:schemeClr val="accent2"/>
          </a:solidFill>
        </a:ln>
        <a:effectLst>
          <a:outerShdw blurRad="40005" dist="20320" dir="5400000" algn="t" rotWithShape="0">
            <a:prstClr val="black">
              <a:alpha val="40000"/>
            </a:prstClr>
          </a:outerShdw>
        </a:effectLst>
      </dgm:spPr>
      <dgm:t>
        <a:bodyPr/>
        <a:lstStyle/>
        <a:p>
          <a:pPr algn="ctr">
            <a:lnSpc>
              <a:spcPct val="100000"/>
            </a:lnSpc>
            <a:spcAft>
              <a:spcPts val="600"/>
            </a:spcAft>
          </a:pPr>
          <a:r>
            <a:rPr lang="ru-RU" sz="1500" dirty="0" smtClean="0">
              <a:solidFill>
                <a:schemeClr val="tx1"/>
              </a:solidFill>
            </a:rPr>
            <a:t>Методические указания по определению выпадающих доходов, связанных с осуществлением технологического присоединения к электрическим сетям, утвержденные приказом Федеральной службы по тарифам от 11.09.2014 № 215-э/1</a:t>
          </a:r>
          <a:endParaRPr lang="ru-RU" sz="1500" dirty="0">
            <a:solidFill>
              <a:schemeClr val="tx1"/>
            </a:solidFill>
          </a:endParaRPr>
        </a:p>
      </dgm:t>
    </dgm:pt>
    <dgm:pt modelId="{04E9E685-C9E9-4A5D-83CA-3117A949EE55}" type="parTrans" cxnId="{0337F0D8-49B9-4358-926A-38420BD3D85E}">
      <dgm:prSet/>
      <dgm:spPr/>
      <dgm:t>
        <a:bodyPr/>
        <a:lstStyle/>
        <a:p>
          <a:pPr algn="ctr">
            <a:spcAft>
              <a:spcPts val="600"/>
            </a:spcAft>
          </a:pPr>
          <a:endParaRPr lang="ru-RU" sz="1500"/>
        </a:p>
      </dgm:t>
    </dgm:pt>
    <dgm:pt modelId="{7FED7F6B-DE57-4C3E-A7F2-5BD4A45B7B56}" type="sibTrans" cxnId="{0337F0D8-49B9-4358-926A-38420BD3D85E}">
      <dgm:prSet/>
      <dgm:spPr/>
      <dgm:t>
        <a:bodyPr/>
        <a:lstStyle/>
        <a:p>
          <a:pPr algn="ctr">
            <a:spcAft>
              <a:spcPts val="600"/>
            </a:spcAft>
          </a:pPr>
          <a:endParaRPr lang="ru-RU" sz="1500"/>
        </a:p>
      </dgm:t>
    </dgm:pt>
    <dgm:pt modelId="{91F83B8C-E68E-4758-8063-648C3B5667E4}" type="pres">
      <dgm:prSet presAssocID="{F686BDA5-D287-422C-BED3-76956438C7A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EEF5B72-0E8A-4C80-81CD-3C4C898F83BA}" type="pres">
      <dgm:prSet presAssocID="{2EEB1AF3-38BE-4E17-A400-0AB9F6787B14}" presName="parentText" presStyleLbl="node1" presStyleIdx="0" presStyleCnt="6" custScaleY="25459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8B2D9CA-F343-46D3-8308-22D3C7098761}" type="pres">
      <dgm:prSet presAssocID="{4D949FDE-633C-46FA-BD22-AFEB0B8D8C05}" presName="spacer" presStyleCnt="0"/>
      <dgm:spPr/>
    </dgm:pt>
    <dgm:pt modelId="{0A79FD6B-A2C5-4F47-BD0A-A7C5D67D3AD5}" type="pres">
      <dgm:prSet presAssocID="{25ECD01E-4D92-46E6-9204-5FACF9B43C32}" presName="parentText" presStyleLbl="node1" presStyleIdx="1" presStyleCnt="6" custScaleY="9303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C09D4AC-61A2-4380-95BF-6A6C1D700667}" type="pres">
      <dgm:prSet presAssocID="{42F96F8F-DE18-48FB-AEE3-99C13C59D124}" presName="spacer" presStyleCnt="0"/>
      <dgm:spPr/>
    </dgm:pt>
    <dgm:pt modelId="{52CAD632-93A1-4768-8615-76172CF32CFE}" type="pres">
      <dgm:prSet presAssocID="{E7E8D7C0-2850-491B-9E7E-3535C6F5911D}" presName="parentText" presStyleLbl="node1" presStyleIdx="2" presStyleCnt="6" custScaleY="3451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08AD395-817A-4687-94DE-DFB5509D92A7}" type="pres">
      <dgm:prSet presAssocID="{E1F02C59-6121-4FA5-8269-522793CA38AC}" presName="spacer" presStyleCnt="0"/>
      <dgm:spPr/>
    </dgm:pt>
    <dgm:pt modelId="{B24385EA-2D6D-4EB3-9251-7EEDE63101AE}" type="pres">
      <dgm:prSet presAssocID="{442AB6CB-236D-4432-AFC3-FD5AFC366B85}" presName="parentText" presStyleLbl="node1" presStyleIdx="3" presStyleCnt="6" custScaleY="3333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11353AF-A2DA-431D-A6C8-B1393BBE189B}" type="pres">
      <dgm:prSet presAssocID="{B12B8EFE-84A6-4214-B720-6200691CBD0E}" presName="spacer" presStyleCnt="0"/>
      <dgm:spPr/>
    </dgm:pt>
    <dgm:pt modelId="{02D02393-E28F-4441-9B8A-E25DF746C382}" type="pres">
      <dgm:prSet presAssocID="{8F98F0BD-B364-4DBA-A552-E49DF78C489E}" presName="parentText" presStyleLbl="node1" presStyleIdx="4" presStyleCnt="6" custScaleY="3874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FB85677-AFD5-4EF2-B5B7-6FEF246E8FB3}" type="pres">
      <dgm:prSet presAssocID="{3CBBA2FD-27A4-43DD-9964-64DD6A847246}" presName="spacer" presStyleCnt="0"/>
      <dgm:spPr/>
    </dgm:pt>
    <dgm:pt modelId="{29B6A9A5-38D0-4AF9-A8B4-5831678AE31F}" type="pres">
      <dgm:prSet presAssocID="{7E7200BB-EDC2-40A4-929E-F17D84D12567}" presName="parentText" presStyleLbl="node1" presStyleIdx="5" presStyleCnt="6" custScaleY="3798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0D32024-1C47-436B-9873-EEDB475DF832}" srcId="{F686BDA5-D287-422C-BED3-76956438C7AF}" destId="{25ECD01E-4D92-46E6-9204-5FACF9B43C32}" srcOrd="1" destOrd="0" parTransId="{2C287F80-A8B3-4929-BD48-B6E07A0D7322}" sibTransId="{42F96F8F-DE18-48FB-AEE3-99C13C59D124}"/>
    <dgm:cxn modelId="{62A7A5E9-5B1E-4E59-95D4-29AC5A9653FA}" srcId="{F686BDA5-D287-422C-BED3-76956438C7AF}" destId="{8F98F0BD-B364-4DBA-A552-E49DF78C489E}" srcOrd="4" destOrd="0" parTransId="{E37A8050-DE37-4D9B-B13B-5429A4E06D49}" sibTransId="{3CBBA2FD-27A4-43DD-9964-64DD6A847246}"/>
    <dgm:cxn modelId="{885C2AA1-0B32-499F-8F65-C69E939CF604}" type="presOf" srcId="{E7E8D7C0-2850-491B-9E7E-3535C6F5911D}" destId="{52CAD632-93A1-4768-8615-76172CF32CFE}" srcOrd="0" destOrd="0" presId="urn:microsoft.com/office/officeart/2005/8/layout/vList2"/>
    <dgm:cxn modelId="{5A84FB91-C514-4198-8A24-D73845DCD117}" srcId="{F686BDA5-D287-422C-BED3-76956438C7AF}" destId="{E7E8D7C0-2850-491B-9E7E-3535C6F5911D}" srcOrd="2" destOrd="0" parTransId="{3F88072B-4AAB-4737-9C43-18869A141A00}" sibTransId="{E1F02C59-6121-4FA5-8269-522793CA38AC}"/>
    <dgm:cxn modelId="{76B14A5E-9CAC-4CFF-9D39-8578DBA64901}" type="presOf" srcId="{F686BDA5-D287-422C-BED3-76956438C7AF}" destId="{91F83B8C-E68E-4758-8063-648C3B5667E4}" srcOrd="0" destOrd="0" presId="urn:microsoft.com/office/officeart/2005/8/layout/vList2"/>
    <dgm:cxn modelId="{C47CFC53-157D-4030-9024-2FA689B932F6}" type="presOf" srcId="{25ECD01E-4D92-46E6-9204-5FACF9B43C32}" destId="{0A79FD6B-A2C5-4F47-BD0A-A7C5D67D3AD5}" srcOrd="0" destOrd="0" presId="urn:microsoft.com/office/officeart/2005/8/layout/vList2"/>
    <dgm:cxn modelId="{A2BC8156-E7F7-4DE8-A7D7-C1741C33AAB5}" type="presOf" srcId="{442AB6CB-236D-4432-AFC3-FD5AFC366B85}" destId="{B24385EA-2D6D-4EB3-9251-7EEDE63101AE}" srcOrd="0" destOrd="0" presId="urn:microsoft.com/office/officeart/2005/8/layout/vList2"/>
    <dgm:cxn modelId="{0337F0D8-49B9-4358-926A-38420BD3D85E}" srcId="{F686BDA5-D287-422C-BED3-76956438C7AF}" destId="{7E7200BB-EDC2-40A4-929E-F17D84D12567}" srcOrd="5" destOrd="0" parTransId="{04E9E685-C9E9-4A5D-83CA-3117A949EE55}" sibTransId="{7FED7F6B-DE57-4C3E-A7F2-5BD4A45B7B56}"/>
    <dgm:cxn modelId="{B0AE7D7A-DE2C-43B3-9A3A-A70B7A2265B6}" type="presOf" srcId="{7E7200BB-EDC2-40A4-929E-F17D84D12567}" destId="{29B6A9A5-38D0-4AF9-A8B4-5831678AE31F}" srcOrd="0" destOrd="0" presId="urn:microsoft.com/office/officeart/2005/8/layout/vList2"/>
    <dgm:cxn modelId="{08BA3200-389D-4530-B6A2-87BF56467D3C}" type="presOf" srcId="{2EEB1AF3-38BE-4E17-A400-0AB9F6787B14}" destId="{3EEF5B72-0E8A-4C80-81CD-3C4C898F83BA}" srcOrd="0" destOrd="0" presId="urn:microsoft.com/office/officeart/2005/8/layout/vList2"/>
    <dgm:cxn modelId="{CB267E46-C76D-4DA9-B81E-A8F67A00CE93}" type="presOf" srcId="{8F98F0BD-B364-4DBA-A552-E49DF78C489E}" destId="{02D02393-E28F-4441-9B8A-E25DF746C382}" srcOrd="0" destOrd="0" presId="urn:microsoft.com/office/officeart/2005/8/layout/vList2"/>
    <dgm:cxn modelId="{E0DA3BCF-BA95-4929-9673-6B8F455FC08A}" srcId="{F686BDA5-D287-422C-BED3-76956438C7AF}" destId="{442AB6CB-236D-4432-AFC3-FD5AFC366B85}" srcOrd="3" destOrd="0" parTransId="{6FCD1098-CB00-4F6B-A907-2C752E2D4683}" sibTransId="{B12B8EFE-84A6-4214-B720-6200691CBD0E}"/>
    <dgm:cxn modelId="{4F616836-D67D-4073-9C14-DA818F806A7E}" srcId="{F686BDA5-D287-422C-BED3-76956438C7AF}" destId="{2EEB1AF3-38BE-4E17-A400-0AB9F6787B14}" srcOrd="0" destOrd="0" parTransId="{20D1345D-267B-49FA-80ED-C614C78514AF}" sibTransId="{4D949FDE-633C-46FA-BD22-AFEB0B8D8C05}"/>
    <dgm:cxn modelId="{BC564E40-EC01-4BC2-996A-C782E177608C}" type="presParOf" srcId="{91F83B8C-E68E-4758-8063-648C3B5667E4}" destId="{3EEF5B72-0E8A-4C80-81CD-3C4C898F83BA}" srcOrd="0" destOrd="0" presId="urn:microsoft.com/office/officeart/2005/8/layout/vList2"/>
    <dgm:cxn modelId="{FC940199-91C8-4269-8FCD-FD24F6836F07}" type="presParOf" srcId="{91F83B8C-E68E-4758-8063-648C3B5667E4}" destId="{E8B2D9CA-F343-46D3-8308-22D3C7098761}" srcOrd="1" destOrd="0" presId="urn:microsoft.com/office/officeart/2005/8/layout/vList2"/>
    <dgm:cxn modelId="{9EC2FD13-A331-4672-A8B4-2C53FE82C764}" type="presParOf" srcId="{91F83B8C-E68E-4758-8063-648C3B5667E4}" destId="{0A79FD6B-A2C5-4F47-BD0A-A7C5D67D3AD5}" srcOrd="2" destOrd="0" presId="urn:microsoft.com/office/officeart/2005/8/layout/vList2"/>
    <dgm:cxn modelId="{710A2996-2639-4226-954F-5FF0CA863D54}" type="presParOf" srcId="{91F83B8C-E68E-4758-8063-648C3B5667E4}" destId="{1C09D4AC-61A2-4380-95BF-6A6C1D700667}" srcOrd="3" destOrd="0" presId="urn:microsoft.com/office/officeart/2005/8/layout/vList2"/>
    <dgm:cxn modelId="{0C36C610-D326-4FB1-A801-31958E8D17DF}" type="presParOf" srcId="{91F83B8C-E68E-4758-8063-648C3B5667E4}" destId="{52CAD632-93A1-4768-8615-76172CF32CFE}" srcOrd="4" destOrd="0" presId="urn:microsoft.com/office/officeart/2005/8/layout/vList2"/>
    <dgm:cxn modelId="{764B2EA8-D74E-4CA7-8416-38F121684E97}" type="presParOf" srcId="{91F83B8C-E68E-4758-8063-648C3B5667E4}" destId="{508AD395-817A-4687-94DE-DFB5509D92A7}" srcOrd="5" destOrd="0" presId="urn:microsoft.com/office/officeart/2005/8/layout/vList2"/>
    <dgm:cxn modelId="{27611FCB-25B7-40C0-AE84-7A3BC73CDFF4}" type="presParOf" srcId="{91F83B8C-E68E-4758-8063-648C3B5667E4}" destId="{B24385EA-2D6D-4EB3-9251-7EEDE63101AE}" srcOrd="6" destOrd="0" presId="urn:microsoft.com/office/officeart/2005/8/layout/vList2"/>
    <dgm:cxn modelId="{9FF97ABF-6A13-4F3A-B0DB-F3727A6BD025}" type="presParOf" srcId="{91F83B8C-E68E-4758-8063-648C3B5667E4}" destId="{111353AF-A2DA-431D-A6C8-B1393BBE189B}" srcOrd="7" destOrd="0" presId="urn:microsoft.com/office/officeart/2005/8/layout/vList2"/>
    <dgm:cxn modelId="{333DC1F4-5367-4DB4-A186-139BAD0CE3F5}" type="presParOf" srcId="{91F83B8C-E68E-4758-8063-648C3B5667E4}" destId="{02D02393-E28F-4441-9B8A-E25DF746C382}" srcOrd="8" destOrd="0" presId="urn:microsoft.com/office/officeart/2005/8/layout/vList2"/>
    <dgm:cxn modelId="{81991965-715F-4362-83E7-9ACC26129281}" type="presParOf" srcId="{91F83B8C-E68E-4758-8063-648C3B5667E4}" destId="{5FB85677-AFD5-4EF2-B5B7-6FEF246E8FB3}" srcOrd="9" destOrd="0" presId="urn:microsoft.com/office/officeart/2005/8/layout/vList2"/>
    <dgm:cxn modelId="{84EE484F-87DE-49C1-8D03-342DB8371BBE}" type="presParOf" srcId="{91F83B8C-E68E-4758-8063-648C3B5667E4}" destId="{29B6A9A5-38D0-4AF9-A8B4-5831678AE31F}" srcOrd="1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C8C32B0-B178-4F9D-89D2-D4A67D34D5EA}" type="doc">
      <dgm:prSet loTypeId="urn:microsoft.com/office/officeart/2005/8/layout/orgChart1" loCatId="hierarchy" qsTypeId="urn:microsoft.com/office/officeart/2005/8/quickstyle/simple1" qsCatId="simple" csTypeId="urn:microsoft.com/office/officeart/2005/8/colors/accent2_5" csCatId="accent2" phldr="1"/>
      <dgm:spPr/>
      <dgm:t>
        <a:bodyPr/>
        <a:lstStyle/>
        <a:p>
          <a:endParaRPr lang="ru-RU"/>
        </a:p>
      </dgm:t>
    </dgm:pt>
    <dgm:pt modelId="{F22A48F7-51AC-4464-867D-40F9695B1602}">
      <dgm:prSet phldrT="[Текст]" custT="1"/>
      <dgm:spPr>
        <a:solidFill>
          <a:schemeClr val="accent2">
            <a:lumMod val="20000"/>
            <a:lumOff val="80000"/>
          </a:schemeClr>
        </a:solidFill>
        <a:ln w="9525">
          <a:solidFill>
            <a:schemeClr val="accent2">
              <a:lumMod val="75000"/>
            </a:schemeClr>
          </a:solidFill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>
            <a:lnSpc>
              <a:spcPct val="100000"/>
            </a:lnSpc>
          </a:pPr>
          <a:r>
            <a:rPr lang="ru-RU" sz="1600" b="1" i="0" dirty="0" smtClean="0">
              <a:solidFill>
                <a:schemeClr val="tx1"/>
              </a:solidFill>
              <a:effectLst/>
            </a:rPr>
            <a:t>Плата за технологическое присоединение</a:t>
          </a:r>
          <a:endParaRPr lang="ru-RU" sz="1600" b="1" i="0" dirty="0">
            <a:solidFill>
              <a:schemeClr val="tx1"/>
            </a:solidFill>
            <a:effectLst/>
          </a:endParaRPr>
        </a:p>
      </dgm:t>
    </dgm:pt>
    <dgm:pt modelId="{23D54764-B295-4F94-A9BF-BA42E8EA644F}" type="parTrans" cxnId="{DEDFEEA1-ABBA-46A1-9974-F4B94EA52B0F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04976F84-93DD-436C-84FE-7016D59F91A1}" type="sibTrans" cxnId="{DEDFEEA1-ABBA-46A1-9974-F4B94EA52B0F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CD28277B-51FA-4456-92DC-240B80F7E2B5}">
      <dgm:prSet phldrT="[Текст]" custT="1"/>
      <dgm:spPr>
        <a:solidFill>
          <a:srgbClr val="EEE7FF"/>
        </a:solidFill>
        <a:ln w="9525">
          <a:solidFill>
            <a:schemeClr val="accent2">
              <a:lumMod val="75000"/>
            </a:schemeClr>
          </a:solidFill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>
            <a:lnSpc>
              <a:spcPct val="100000"/>
            </a:lnSpc>
          </a:pPr>
          <a:r>
            <a:rPr lang="ru-RU" sz="1400" dirty="0" smtClean="0">
              <a:solidFill>
                <a:schemeClr val="tx1"/>
              </a:solidFill>
            </a:rPr>
            <a:t>Организационно-технические мероприятия («чернила»)</a:t>
          </a:r>
          <a:endParaRPr lang="ru-RU" sz="1400" dirty="0">
            <a:solidFill>
              <a:schemeClr val="tx1"/>
            </a:solidFill>
          </a:endParaRPr>
        </a:p>
      </dgm:t>
    </dgm:pt>
    <dgm:pt modelId="{FB5273B5-F8E0-46A6-801D-1AACE7D45875}" type="parTrans" cxnId="{6AFBCA52-2628-41C7-A78C-08C5CA097978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226DD14E-27D1-47BA-B3CC-988DF0181C36}" type="sibTrans" cxnId="{6AFBCA52-2628-41C7-A78C-08C5CA097978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AD45BA08-892D-4668-A986-EA61B8FED125}">
      <dgm:prSet phldrT="[Текст]" custT="1"/>
      <dgm:spPr>
        <a:solidFill>
          <a:schemeClr val="bg1">
            <a:lumMod val="85000"/>
          </a:schemeClr>
        </a:solidFill>
        <a:ln w="12700">
          <a:solidFill>
            <a:schemeClr val="bg2"/>
          </a:solidFill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>
            <a:lnSpc>
              <a:spcPct val="100000"/>
            </a:lnSpc>
          </a:pPr>
          <a:r>
            <a:rPr lang="ru-RU" sz="1300" dirty="0" smtClean="0">
              <a:solidFill>
                <a:schemeClr val="tx1"/>
              </a:solidFill>
            </a:rPr>
            <a:t>Подготовка и выдача сетевой организацией технических условий Заявителю</a:t>
          </a:r>
          <a:endParaRPr lang="ru-RU" sz="1300" dirty="0">
            <a:solidFill>
              <a:schemeClr val="tx1"/>
            </a:solidFill>
          </a:endParaRPr>
        </a:p>
      </dgm:t>
    </dgm:pt>
    <dgm:pt modelId="{75E15C22-5A1A-4685-9192-21B4579BDC49}" type="parTrans" cxnId="{775E367F-2B6A-4E63-87F0-6BD4DBA1E634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7A39D7E0-AE63-4056-8DDF-7A7360840034}" type="sibTrans" cxnId="{775E367F-2B6A-4E63-87F0-6BD4DBA1E634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B75B5F6B-534C-4018-A558-FE4703E4D91D}">
      <dgm:prSet phldrT="[Текст]" custT="1"/>
      <dgm:spPr>
        <a:solidFill>
          <a:srgbClr val="EEE7FF"/>
        </a:solidFill>
        <a:ln w="9525">
          <a:solidFill>
            <a:schemeClr val="accent2">
              <a:lumMod val="75000"/>
            </a:schemeClr>
          </a:solidFill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>
            <a:lnSpc>
              <a:spcPct val="100000"/>
            </a:lnSpc>
          </a:pPr>
          <a:r>
            <a:rPr lang="ru-RU" sz="1400" dirty="0" smtClean="0">
              <a:solidFill>
                <a:schemeClr val="tx1"/>
              </a:solidFill>
            </a:rPr>
            <a:t>Мероприятия «последней мили»</a:t>
          </a:r>
          <a:endParaRPr lang="ru-RU" sz="1400" dirty="0">
            <a:solidFill>
              <a:schemeClr val="tx1"/>
            </a:solidFill>
          </a:endParaRPr>
        </a:p>
      </dgm:t>
    </dgm:pt>
    <dgm:pt modelId="{09E55509-C277-4890-826F-66913B9BD87C}" type="parTrans" cxnId="{22817DE6-B9BC-43C2-ABF8-249CFA0C7F9B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71D03BAD-089E-4455-811D-2CCF859AF5B5}" type="sibTrans" cxnId="{22817DE6-B9BC-43C2-ABF8-249CFA0C7F9B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04E9FAF1-78C0-4A24-801C-0B9F0E062380}">
      <dgm:prSet phldrT="[Текст]" custT="1"/>
      <dgm:spPr>
        <a:solidFill>
          <a:schemeClr val="bg1">
            <a:lumMod val="85000"/>
          </a:schemeClr>
        </a:solidFill>
        <a:ln w="12700">
          <a:solidFill>
            <a:schemeClr val="bg2"/>
          </a:solidFill>
        </a:ln>
        <a:effectLst>
          <a:outerShdw blurRad="40005" dist="20320" dir="5400000" algn="t" rotWithShape="0">
            <a:prstClr val="black">
              <a:alpha val="40000"/>
            </a:prstClr>
          </a:outerShdw>
        </a:effectLst>
      </dgm:spPr>
      <dgm:t>
        <a:bodyPr/>
        <a:lstStyle/>
        <a:p>
          <a:pPr>
            <a:lnSpc>
              <a:spcPct val="100000"/>
            </a:lnSpc>
          </a:pPr>
          <a:r>
            <a:rPr lang="ru-RU" sz="1300" dirty="0" smtClean="0">
              <a:solidFill>
                <a:schemeClr val="tx1"/>
              </a:solidFill>
            </a:rPr>
            <a:t>Проектная документация</a:t>
          </a:r>
          <a:endParaRPr lang="ru-RU" sz="1200" dirty="0">
            <a:solidFill>
              <a:schemeClr val="tx1"/>
            </a:solidFill>
          </a:endParaRPr>
        </a:p>
      </dgm:t>
    </dgm:pt>
    <dgm:pt modelId="{40CA72A4-56D9-4423-8CC1-05D62B8BA254}" type="parTrans" cxnId="{F0BBFD64-2242-44F9-9C72-6856444A9B4E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A04D3ABF-E797-4F81-A0FC-D8BC7EEE73B2}" type="sibTrans" cxnId="{F0BBFD64-2242-44F9-9C72-6856444A9B4E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99FF0A64-69BE-4714-9B66-DB388F929298}">
      <dgm:prSet custT="1"/>
      <dgm:spPr>
        <a:solidFill>
          <a:schemeClr val="bg1">
            <a:lumMod val="85000"/>
          </a:schemeClr>
        </a:solidFill>
        <a:ln w="12700">
          <a:solidFill>
            <a:schemeClr val="bg2"/>
          </a:solidFill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>
            <a:lnSpc>
              <a:spcPct val="100000"/>
            </a:lnSpc>
          </a:pPr>
          <a:r>
            <a:rPr lang="ru-RU" sz="1300" dirty="0" smtClean="0">
              <a:solidFill>
                <a:schemeClr val="tx1"/>
              </a:solidFill>
            </a:rPr>
            <a:t>Проверка сетевой организацией выполнения Заявителем технических условий</a:t>
          </a:r>
          <a:endParaRPr lang="ru-RU" sz="1300" dirty="0">
            <a:solidFill>
              <a:schemeClr val="tx1"/>
            </a:solidFill>
          </a:endParaRPr>
        </a:p>
      </dgm:t>
    </dgm:pt>
    <dgm:pt modelId="{58BE4EA4-CD4C-4BAE-9242-29305364A9F3}" type="parTrans" cxnId="{A4343FEF-36B8-4193-9B88-8AC4AC6A8A8C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7202D758-0916-4C6D-AB59-FFE2304B989A}" type="sibTrans" cxnId="{A4343FEF-36B8-4193-9B88-8AC4AC6A8A8C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C56FD3A5-4972-4D08-957B-03FEB7D15C64}">
      <dgm:prSet custT="1"/>
      <dgm:spPr>
        <a:solidFill>
          <a:schemeClr val="bg1">
            <a:lumMod val="85000"/>
          </a:schemeClr>
        </a:solidFill>
        <a:ln w="12700">
          <a:solidFill>
            <a:schemeClr val="bg2"/>
          </a:solidFill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>
            <a:lnSpc>
              <a:spcPct val="100000"/>
            </a:lnSpc>
          </a:pPr>
          <a:r>
            <a:rPr lang="ru-RU" sz="1300" dirty="0" smtClean="0">
              <a:solidFill>
                <a:schemeClr val="tx1"/>
              </a:solidFill>
            </a:rPr>
            <a:t>Участие сетевой организации в осмотре должностным лицом органа федерального </a:t>
          </a:r>
          <a:r>
            <a:rPr lang="ru-RU" sz="1300" dirty="0" err="1" smtClean="0">
              <a:solidFill>
                <a:schemeClr val="tx1"/>
              </a:solidFill>
            </a:rPr>
            <a:t>госэнергонадзора</a:t>
          </a:r>
          <a:r>
            <a:rPr lang="ru-RU" sz="1300" dirty="0" smtClean="0">
              <a:solidFill>
                <a:schemeClr val="tx1"/>
              </a:solidFill>
            </a:rPr>
            <a:t> присоединяемых Устройств Заявителя</a:t>
          </a:r>
          <a:endParaRPr lang="ru-RU" sz="1300" dirty="0">
            <a:solidFill>
              <a:schemeClr val="tx1"/>
            </a:solidFill>
          </a:endParaRPr>
        </a:p>
      </dgm:t>
    </dgm:pt>
    <dgm:pt modelId="{E9FB2CB0-5EB3-44E5-A581-17D038FE70A8}" type="parTrans" cxnId="{CC87FAB7-599D-4C9D-AF1B-E3438367E8E6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F77D2BB0-B9A0-4E75-94E9-CCE5D0E9C9EB}" type="sibTrans" cxnId="{CC87FAB7-599D-4C9D-AF1B-E3438367E8E6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1F5469B8-5419-4A8D-BBBD-C66366EEAE71}">
      <dgm:prSet custT="1"/>
      <dgm:spPr>
        <a:solidFill>
          <a:schemeClr val="bg1">
            <a:lumMod val="85000"/>
          </a:schemeClr>
        </a:solidFill>
        <a:ln w="12700">
          <a:solidFill>
            <a:schemeClr val="bg2"/>
          </a:solidFill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>
            <a:lnSpc>
              <a:spcPct val="100000"/>
            </a:lnSpc>
          </a:pPr>
          <a:r>
            <a:rPr lang="ru-RU" sz="1300" dirty="0" smtClean="0">
              <a:solidFill>
                <a:schemeClr val="tx1"/>
              </a:solidFill>
            </a:rPr>
            <a:t>Фактические действия по присоединению и обеспечению работы Устройств в электрической сети</a:t>
          </a:r>
          <a:endParaRPr lang="ru-RU" sz="1300" dirty="0">
            <a:solidFill>
              <a:schemeClr val="tx1"/>
            </a:solidFill>
          </a:endParaRPr>
        </a:p>
      </dgm:t>
    </dgm:pt>
    <dgm:pt modelId="{39BEFEDC-6E3C-4228-AA51-4CB8B2EE74AF}" type="parTrans" cxnId="{19B33CFF-BFDD-432F-8343-37CFF4E27BAB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2C3D3413-F3B7-4370-971F-3E1C927C0234}" type="sibTrans" cxnId="{19B33CFF-BFDD-432F-8343-37CFF4E27BAB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378CF3D7-1480-42C5-A86E-325DAC838B0B}">
      <dgm:prSet custT="1"/>
      <dgm:spPr>
        <a:solidFill>
          <a:schemeClr val="bg1">
            <a:lumMod val="85000"/>
          </a:schemeClr>
        </a:solidFill>
        <a:ln w="12700">
          <a:solidFill>
            <a:schemeClr val="bg2"/>
          </a:solidFill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>
            <a:lnSpc>
              <a:spcPct val="100000"/>
            </a:lnSpc>
          </a:pPr>
          <a:r>
            <a:rPr lang="ru-RU" sz="1300" dirty="0" smtClean="0">
              <a:solidFill>
                <a:schemeClr val="tx1"/>
              </a:solidFill>
            </a:rPr>
            <a:t>Новое строительство</a:t>
          </a:r>
          <a:endParaRPr lang="ru-RU" sz="1300" dirty="0">
            <a:solidFill>
              <a:schemeClr val="tx1"/>
            </a:solidFill>
          </a:endParaRPr>
        </a:p>
      </dgm:t>
    </dgm:pt>
    <dgm:pt modelId="{4D32A711-4921-43D9-8286-54FA00979A37}" type="parTrans" cxnId="{CE09DDA3-0889-4290-A80E-16C3133B8B7A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A0F6E01F-1CB2-4453-88EB-293A37A3C55F}" type="sibTrans" cxnId="{CE09DDA3-0889-4290-A80E-16C3133B8B7A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037A4173-DEDE-4443-8F63-CB05707A5FE6}">
      <dgm:prSet custT="1"/>
      <dgm:spPr>
        <a:solidFill>
          <a:schemeClr val="bg2">
            <a:lumMod val="20000"/>
            <a:lumOff val="80000"/>
          </a:schemeClr>
        </a:solidFill>
        <a:ln w="9525">
          <a:solidFill>
            <a:schemeClr val="bg2"/>
          </a:solidFill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>
            <a:lnSpc>
              <a:spcPct val="100000"/>
            </a:lnSpc>
          </a:pPr>
          <a:r>
            <a:rPr lang="ru-RU" sz="1200" dirty="0" smtClean="0">
              <a:solidFill>
                <a:schemeClr val="tx1"/>
              </a:solidFill>
            </a:rPr>
            <a:t>строительство воздушных линий</a:t>
          </a:r>
          <a:endParaRPr lang="ru-RU" sz="1200" dirty="0">
            <a:solidFill>
              <a:schemeClr val="tx1"/>
            </a:solidFill>
          </a:endParaRPr>
        </a:p>
      </dgm:t>
    </dgm:pt>
    <dgm:pt modelId="{D2AAB5A1-F8BF-4094-BCEA-FA44E6C335F0}" type="parTrans" cxnId="{4BB16301-705B-4540-9C28-5D272F4A17B8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C56B0016-2AE9-496A-8CA9-AFD78E6D3EDE}" type="sibTrans" cxnId="{4BB16301-705B-4540-9C28-5D272F4A17B8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B6D77C4F-8A4A-431F-B6C2-CBFA96C6D401}">
      <dgm:prSet custT="1"/>
      <dgm:spPr>
        <a:solidFill>
          <a:schemeClr val="bg2">
            <a:lumMod val="20000"/>
            <a:lumOff val="80000"/>
          </a:schemeClr>
        </a:solidFill>
        <a:ln w="9525">
          <a:solidFill>
            <a:schemeClr val="bg2"/>
          </a:solidFill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>
            <a:lnSpc>
              <a:spcPct val="100000"/>
            </a:lnSpc>
          </a:pPr>
          <a:r>
            <a:rPr lang="ru-RU" sz="1200" dirty="0" smtClean="0">
              <a:solidFill>
                <a:schemeClr val="tx1"/>
              </a:solidFill>
            </a:rPr>
            <a:t>строительство кабельных линий</a:t>
          </a:r>
          <a:endParaRPr lang="ru-RU" sz="1200" dirty="0">
            <a:solidFill>
              <a:schemeClr val="tx1"/>
            </a:solidFill>
          </a:endParaRPr>
        </a:p>
      </dgm:t>
    </dgm:pt>
    <dgm:pt modelId="{F89806EB-CF99-4D22-B179-4891D0B21D89}" type="parTrans" cxnId="{44AD769B-88E9-4FCD-97A3-B0BE43FACA24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9DF604C3-2DB5-4ABF-8D07-502C1878EB53}" type="sibTrans" cxnId="{44AD769B-88E9-4FCD-97A3-B0BE43FACA24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F2C47EC1-B811-41D3-9AFB-2737DFABA067}">
      <dgm:prSet custT="1"/>
      <dgm:spPr>
        <a:solidFill>
          <a:schemeClr val="bg2">
            <a:lumMod val="20000"/>
            <a:lumOff val="80000"/>
          </a:schemeClr>
        </a:solidFill>
        <a:ln w="9525">
          <a:solidFill>
            <a:schemeClr val="bg2"/>
          </a:solidFill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>
            <a:lnSpc>
              <a:spcPct val="100000"/>
            </a:lnSpc>
          </a:pPr>
          <a:r>
            <a:rPr lang="ru-RU" sz="1200" dirty="0" smtClean="0">
              <a:solidFill>
                <a:schemeClr val="tx1"/>
              </a:solidFill>
            </a:rPr>
            <a:t>строительство пунктов секционирования</a:t>
          </a:r>
          <a:endParaRPr lang="ru-RU" sz="1200" dirty="0">
            <a:solidFill>
              <a:schemeClr val="tx1"/>
            </a:solidFill>
          </a:endParaRPr>
        </a:p>
      </dgm:t>
    </dgm:pt>
    <dgm:pt modelId="{87EB1315-57D9-4CFC-918D-25A8040D2671}" type="parTrans" cxnId="{7505CF91-9D01-437C-B2CC-11B1838C686F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24BB6EB6-8C58-4608-88B0-A5E484081E30}" type="sibTrans" cxnId="{7505CF91-9D01-437C-B2CC-11B1838C686F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566ABFC3-D925-402A-88F9-1FFFD10F45DF}">
      <dgm:prSet custT="1"/>
      <dgm:spPr>
        <a:solidFill>
          <a:schemeClr val="bg2">
            <a:lumMod val="20000"/>
            <a:lumOff val="80000"/>
          </a:schemeClr>
        </a:solidFill>
        <a:ln w="9525">
          <a:solidFill>
            <a:schemeClr val="bg2"/>
          </a:solidFill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>
            <a:lnSpc>
              <a:spcPct val="100000"/>
            </a:lnSpc>
          </a:pPr>
          <a:r>
            <a:rPr lang="ru-RU" sz="1200" dirty="0" smtClean="0">
              <a:solidFill>
                <a:schemeClr val="tx1"/>
              </a:solidFill>
            </a:rPr>
            <a:t>строительство КТП, РТП с уровнем напряжения до 35 </a:t>
          </a:r>
          <a:r>
            <a:rPr lang="ru-RU" sz="1200" dirty="0" err="1" smtClean="0">
              <a:solidFill>
                <a:schemeClr val="tx1"/>
              </a:solidFill>
            </a:rPr>
            <a:t>кВ</a:t>
          </a:r>
          <a:endParaRPr lang="ru-RU" sz="1200" dirty="0">
            <a:solidFill>
              <a:schemeClr val="tx1"/>
            </a:solidFill>
          </a:endParaRPr>
        </a:p>
      </dgm:t>
    </dgm:pt>
    <dgm:pt modelId="{025E9F70-1B2B-4501-9497-17E2A32B8C27}" type="parTrans" cxnId="{AC58EE27-1256-4361-BBB6-C0A0EF2EE7A9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775C758C-6477-4E4A-949E-4E112238E0F5}" type="sibTrans" cxnId="{AC58EE27-1256-4361-BBB6-C0A0EF2EE7A9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545F5D5B-BD34-46FE-82AA-5511861D225D}">
      <dgm:prSet custT="1"/>
      <dgm:spPr>
        <a:solidFill>
          <a:schemeClr val="bg2">
            <a:lumMod val="20000"/>
            <a:lumOff val="80000"/>
          </a:schemeClr>
        </a:solidFill>
        <a:ln w="9525">
          <a:solidFill>
            <a:schemeClr val="bg2"/>
          </a:solidFill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pPr>
            <a:lnSpc>
              <a:spcPct val="100000"/>
            </a:lnSpc>
          </a:pPr>
          <a:r>
            <a:rPr lang="ru-RU" sz="1200" dirty="0" smtClean="0">
              <a:solidFill>
                <a:schemeClr val="tx1"/>
              </a:solidFill>
            </a:rPr>
            <a:t>строительство центров питания, подстанций уровнем напряжения 35 </a:t>
          </a:r>
          <a:r>
            <a:rPr lang="ru-RU" sz="1200" dirty="0" err="1" smtClean="0">
              <a:solidFill>
                <a:schemeClr val="tx1"/>
              </a:solidFill>
            </a:rPr>
            <a:t>кВ</a:t>
          </a:r>
          <a:r>
            <a:rPr lang="ru-RU" sz="1200" dirty="0" smtClean="0">
              <a:solidFill>
                <a:schemeClr val="tx1"/>
              </a:solidFill>
            </a:rPr>
            <a:t> и выше</a:t>
          </a:r>
          <a:endParaRPr lang="ru-RU" sz="1200" dirty="0">
            <a:solidFill>
              <a:schemeClr val="tx1"/>
            </a:solidFill>
          </a:endParaRPr>
        </a:p>
      </dgm:t>
    </dgm:pt>
    <dgm:pt modelId="{D6FA7EAC-B170-4B64-AAA1-605E4EF0DDE4}" type="parTrans" cxnId="{AFCC7EF0-998F-4CD8-98F2-9000C8DFC686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AB50F526-6939-4EFA-9F42-C7A758D3A573}" type="sibTrans" cxnId="{AFCC7EF0-998F-4CD8-98F2-9000C8DFC686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DAEE2B8D-CDDF-433F-9014-3CC96FE17C73}" type="pres">
      <dgm:prSet presAssocID="{6C8C32B0-B178-4F9D-89D2-D4A67D34D5EA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73E21693-11CE-4715-A921-861F828FCEBB}" type="pres">
      <dgm:prSet presAssocID="{F22A48F7-51AC-4464-867D-40F9695B1602}" presName="hierRoot1" presStyleCnt="0">
        <dgm:presLayoutVars>
          <dgm:hierBranch val="init"/>
        </dgm:presLayoutVars>
      </dgm:prSet>
      <dgm:spPr/>
    </dgm:pt>
    <dgm:pt modelId="{63B24786-C4ED-4F99-B0B9-12B1D95F2C4D}" type="pres">
      <dgm:prSet presAssocID="{F22A48F7-51AC-4464-867D-40F9695B1602}" presName="rootComposite1" presStyleCnt="0"/>
      <dgm:spPr/>
    </dgm:pt>
    <dgm:pt modelId="{B9366E58-9117-4B9C-B778-0E7360BF0F23}" type="pres">
      <dgm:prSet presAssocID="{F22A48F7-51AC-4464-867D-40F9695B1602}" presName="rootText1" presStyleLbl="node0" presStyleIdx="0" presStyleCnt="1" custScaleX="359053" custScaleY="194551" custLinFactNeighborX="32732" custLinFactNeighborY="-2957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CD5E320F-D863-49AD-8342-F91BA26F0063}" type="pres">
      <dgm:prSet presAssocID="{F22A48F7-51AC-4464-867D-40F9695B1602}" presName="rootConnector1" presStyleLbl="node1" presStyleIdx="0" presStyleCnt="0"/>
      <dgm:spPr/>
      <dgm:t>
        <a:bodyPr/>
        <a:lstStyle/>
        <a:p>
          <a:endParaRPr lang="ru-RU"/>
        </a:p>
      </dgm:t>
    </dgm:pt>
    <dgm:pt modelId="{173F9ADE-3381-41BA-8D90-B9DD0BBEE50D}" type="pres">
      <dgm:prSet presAssocID="{F22A48F7-51AC-4464-867D-40F9695B1602}" presName="hierChild2" presStyleCnt="0"/>
      <dgm:spPr/>
    </dgm:pt>
    <dgm:pt modelId="{D7127933-1B61-4E75-8A6A-A707D302D783}" type="pres">
      <dgm:prSet presAssocID="{FB5273B5-F8E0-46A6-801D-1AACE7D45875}" presName="Name37" presStyleLbl="parChTrans1D2" presStyleIdx="0" presStyleCnt="2"/>
      <dgm:spPr/>
      <dgm:t>
        <a:bodyPr/>
        <a:lstStyle/>
        <a:p>
          <a:endParaRPr lang="ru-RU"/>
        </a:p>
      </dgm:t>
    </dgm:pt>
    <dgm:pt modelId="{CEC8867B-8426-48CE-BCDD-6D4C49729EB4}" type="pres">
      <dgm:prSet presAssocID="{CD28277B-51FA-4456-92DC-240B80F7E2B5}" presName="hierRoot2" presStyleCnt="0">
        <dgm:presLayoutVars>
          <dgm:hierBranch val="init"/>
        </dgm:presLayoutVars>
      </dgm:prSet>
      <dgm:spPr/>
    </dgm:pt>
    <dgm:pt modelId="{67A46B2E-C55D-4456-BD92-7BC4970805DC}" type="pres">
      <dgm:prSet presAssocID="{CD28277B-51FA-4456-92DC-240B80F7E2B5}" presName="rootComposite" presStyleCnt="0"/>
      <dgm:spPr/>
    </dgm:pt>
    <dgm:pt modelId="{B3660C43-1E63-4365-B4EA-A3E64D49A6EC}" type="pres">
      <dgm:prSet presAssocID="{CD28277B-51FA-4456-92DC-240B80F7E2B5}" presName="rootText" presStyleLbl="node2" presStyleIdx="0" presStyleCnt="2" custScaleX="352305" custScaleY="140922" custLinFactNeighborX="-3834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14ADA3EB-527D-4943-AA0B-2301881907E5}" type="pres">
      <dgm:prSet presAssocID="{CD28277B-51FA-4456-92DC-240B80F7E2B5}" presName="rootConnector" presStyleLbl="node2" presStyleIdx="0" presStyleCnt="2"/>
      <dgm:spPr/>
      <dgm:t>
        <a:bodyPr/>
        <a:lstStyle/>
        <a:p>
          <a:endParaRPr lang="ru-RU"/>
        </a:p>
      </dgm:t>
    </dgm:pt>
    <dgm:pt modelId="{B784BE16-B115-434F-9285-7CE67AD1AECF}" type="pres">
      <dgm:prSet presAssocID="{CD28277B-51FA-4456-92DC-240B80F7E2B5}" presName="hierChild4" presStyleCnt="0"/>
      <dgm:spPr/>
    </dgm:pt>
    <dgm:pt modelId="{31C9C071-24A8-4827-8B33-3398A8C731BA}" type="pres">
      <dgm:prSet presAssocID="{75E15C22-5A1A-4685-9192-21B4579BDC49}" presName="Name37" presStyleLbl="parChTrans1D3" presStyleIdx="0" presStyleCnt="6"/>
      <dgm:spPr/>
      <dgm:t>
        <a:bodyPr/>
        <a:lstStyle/>
        <a:p>
          <a:endParaRPr lang="ru-RU"/>
        </a:p>
      </dgm:t>
    </dgm:pt>
    <dgm:pt modelId="{FF9BD483-7977-42BB-BC08-6F2AAB149F34}" type="pres">
      <dgm:prSet presAssocID="{AD45BA08-892D-4668-A986-EA61B8FED125}" presName="hierRoot2" presStyleCnt="0">
        <dgm:presLayoutVars>
          <dgm:hierBranch val="init"/>
        </dgm:presLayoutVars>
      </dgm:prSet>
      <dgm:spPr/>
    </dgm:pt>
    <dgm:pt modelId="{D6CEC8E7-43A5-4D31-A59F-D6D4D2533A16}" type="pres">
      <dgm:prSet presAssocID="{AD45BA08-892D-4668-A986-EA61B8FED125}" presName="rootComposite" presStyleCnt="0"/>
      <dgm:spPr/>
    </dgm:pt>
    <dgm:pt modelId="{8B4290D6-9B95-43B7-9A11-6B51DAB394F3}" type="pres">
      <dgm:prSet presAssocID="{AD45BA08-892D-4668-A986-EA61B8FED125}" presName="rootText" presStyleLbl="node3" presStyleIdx="0" presStyleCnt="6" custScaleX="297206" custScaleY="145781" custLinFactNeighborX="-3058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D59D0EC-3A15-4C06-A6A1-008675C305D7}" type="pres">
      <dgm:prSet presAssocID="{AD45BA08-892D-4668-A986-EA61B8FED125}" presName="rootConnector" presStyleLbl="node3" presStyleIdx="0" presStyleCnt="6"/>
      <dgm:spPr/>
      <dgm:t>
        <a:bodyPr/>
        <a:lstStyle/>
        <a:p>
          <a:endParaRPr lang="ru-RU"/>
        </a:p>
      </dgm:t>
    </dgm:pt>
    <dgm:pt modelId="{ADFB9316-8249-48B1-9320-222A521F206D}" type="pres">
      <dgm:prSet presAssocID="{AD45BA08-892D-4668-A986-EA61B8FED125}" presName="hierChild4" presStyleCnt="0"/>
      <dgm:spPr/>
    </dgm:pt>
    <dgm:pt modelId="{BB8F0AC5-D69A-45AA-9A52-A968B073D931}" type="pres">
      <dgm:prSet presAssocID="{AD45BA08-892D-4668-A986-EA61B8FED125}" presName="hierChild5" presStyleCnt="0"/>
      <dgm:spPr/>
    </dgm:pt>
    <dgm:pt modelId="{400F91B0-A13F-4314-A0F3-5E596104580D}" type="pres">
      <dgm:prSet presAssocID="{58BE4EA4-CD4C-4BAE-9242-29305364A9F3}" presName="Name37" presStyleLbl="parChTrans1D3" presStyleIdx="1" presStyleCnt="6"/>
      <dgm:spPr/>
      <dgm:t>
        <a:bodyPr/>
        <a:lstStyle/>
        <a:p>
          <a:endParaRPr lang="ru-RU"/>
        </a:p>
      </dgm:t>
    </dgm:pt>
    <dgm:pt modelId="{A96F02AC-0332-4A30-8B3C-7A205561CE8D}" type="pres">
      <dgm:prSet presAssocID="{99FF0A64-69BE-4714-9B66-DB388F929298}" presName="hierRoot2" presStyleCnt="0">
        <dgm:presLayoutVars>
          <dgm:hierBranch val="init"/>
        </dgm:presLayoutVars>
      </dgm:prSet>
      <dgm:spPr/>
    </dgm:pt>
    <dgm:pt modelId="{5213E7E3-5888-4309-8060-E63245BA28DA}" type="pres">
      <dgm:prSet presAssocID="{99FF0A64-69BE-4714-9B66-DB388F929298}" presName="rootComposite" presStyleCnt="0"/>
      <dgm:spPr/>
    </dgm:pt>
    <dgm:pt modelId="{34D5728F-09C0-4B14-AC05-9BBCBABFF3D5}" type="pres">
      <dgm:prSet presAssocID="{99FF0A64-69BE-4714-9B66-DB388F929298}" presName="rootText" presStyleLbl="node3" presStyleIdx="1" presStyleCnt="6" custScaleX="297665" custScaleY="153763" custLinFactNeighborX="-30583" custLinFactNeighborY="452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5A9F3912-21A9-4F86-8BB6-BC92D0C517F0}" type="pres">
      <dgm:prSet presAssocID="{99FF0A64-69BE-4714-9B66-DB388F929298}" presName="rootConnector" presStyleLbl="node3" presStyleIdx="1" presStyleCnt="6"/>
      <dgm:spPr/>
      <dgm:t>
        <a:bodyPr/>
        <a:lstStyle/>
        <a:p>
          <a:endParaRPr lang="ru-RU"/>
        </a:p>
      </dgm:t>
    </dgm:pt>
    <dgm:pt modelId="{B273993F-2969-4ECA-B384-B93E997DF545}" type="pres">
      <dgm:prSet presAssocID="{99FF0A64-69BE-4714-9B66-DB388F929298}" presName="hierChild4" presStyleCnt="0"/>
      <dgm:spPr/>
    </dgm:pt>
    <dgm:pt modelId="{331B99C5-A71D-40D7-A9CC-F7A3183EA910}" type="pres">
      <dgm:prSet presAssocID="{99FF0A64-69BE-4714-9B66-DB388F929298}" presName="hierChild5" presStyleCnt="0"/>
      <dgm:spPr/>
    </dgm:pt>
    <dgm:pt modelId="{094683F6-4A25-445E-8475-094BC485739B}" type="pres">
      <dgm:prSet presAssocID="{E9FB2CB0-5EB3-44E5-A581-17D038FE70A8}" presName="Name37" presStyleLbl="parChTrans1D3" presStyleIdx="2" presStyleCnt="6"/>
      <dgm:spPr/>
      <dgm:t>
        <a:bodyPr/>
        <a:lstStyle/>
        <a:p>
          <a:endParaRPr lang="ru-RU"/>
        </a:p>
      </dgm:t>
    </dgm:pt>
    <dgm:pt modelId="{F615DD96-85EB-4603-84B5-2050B47B4174}" type="pres">
      <dgm:prSet presAssocID="{C56FD3A5-4972-4D08-957B-03FEB7D15C64}" presName="hierRoot2" presStyleCnt="0">
        <dgm:presLayoutVars>
          <dgm:hierBranch val="init"/>
        </dgm:presLayoutVars>
      </dgm:prSet>
      <dgm:spPr/>
    </dgm:pt>
    <dgm:pt modelId="{4FDDC451-E1F9-4559-8235-98A649B0AAFB}" type="pres">
      <dgm:prSet presAssocID="{C56FD3A5-4972-4D08-957B-03FEB7D15C64}" presName="rootComposite" presStyleCnt="0"/>
      <dgm:spPr/>
    </dgm:pt>
    <dgm:pt modelId="{F78CA9D4-706A-44B3-AD8F-1AC89C5A27DB}" type="pres">
      <dgm:prSet presAssocID="{C56FD3A5-4972-4D08-957B-03FEB7D15C64}" presName="rootText" presStyleLbl="node3" presStyleIdx="2" presStyleCnt="6" custScaleX="297665" custScaleY="268294" custLinFactNeighborX="-30583" custLinFactNeighborY="1428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BF064E90-DA4F-475F-82AC-32B358B01B5C}" type="pres">
      <dgm:prSet presAssocID="{C56FD3A5-4972-4D08-957B-03FEB7D15C64}" presName="rootConnector" presStyleLbl="node3" presStyleIdx="2" presStyleCnt="6"/>
      <dgm:spPr/>
      <dgm:t>
        <a:bodyPr/>
        <a:lstStyle/>
        <a:p>
          <a:endParaRPr lang="ru-RU"/>
        </a:p>
      </dgm:t>
    </dgm:pt>
    <dgm:pt modelId="{C016CB05-CDA4-4ED7-8A3B-C516CEDDAB41}" type="pres">
      <dgm:prSet presAssocID="{C56FD3A5-4972-4D08-957B-03FEB7D15C64}" presName="hierChild4" presStyleCnt="0"/>
      <dgm:spPr/>
    </dgm:pt>
    <dgm:pt modelId="{09973FD7-6C25-46F2-8915-EEE5575388E3}" type="pres">
      <dgm:prSet presAssocID="{C56FD3A5-4972-4D08-957B-03FEB7D15C64}" presName="hierChild5" presStyleCnt="0"/>
      <dgm:spPr/>
    </dgm:pt>
    <dgm:pt modelId="{16835613-AEC6-467C-9E0E-35961AB3FCDC}" type="pres">
      <dgm:prSet presAssocID="{39BEFEDC-6E3C-4228-AA51-4CB8B2EE74AF}" presName="Name37" presStyleLbl="parChTrans1D3" presStyleIdx="3" presStyleCnt="6"/>
      <dgm:spPr/>
      <dgm:t>
        <a:bodyPr/>
        <a:lstStyle/>
        <a:p>
          <a:endParaRPr lang="ru-RU"/>
        </a:p>
      </dgm:t>
    </dgm:pt>
    <dgm:pt modelId="{291E5748-E7E0-4C55-BD9B-FDA74D37EBC7}" type="pres">
      <dgm:prSet presAssocID="{1F5469B8-5419-4A8D-BBBD-C66366EEAE71}" presName="hierRoot2" presStyleCnt="0">
        <dgm:presLayoutVars>
          <dgm:hierBranch val="init"/>
        </dgm:presLayoutVars>
      </dgm:prSet>
      <dgm:spPr/>
    </dgm:pt>
    <dgm:pt modelId="{3778C450-1F81-4840-A070-5351157C8AC5}" type="pres">
      <dgm:prSet presAssocID="{1F5469B8-5419-4A8D-BBBD-C66366EEAE71}" presName="rootComposite" presStyleCnt="0"/>
      <dgm:spPr/>
    </dgm:pt>
    <dgm:pt modelId="{50F39823-70CA-4040-B7FD-8BF523D3755F}" type="pres">
      <dgm:prSet presAssocID="{1F5469B8-5419-4A8D-BBBD-C66366EEAE71}" presName="rootText" presStyleLbl="node3" presStyleIdx="3" presStyleCnt="6" custScaleX="297665" custScaleY="178863" custLinFactNeighborX="-30583" custLinFactNeighborY="2169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88595906-6856-4DFF-B252-0C0BFC06DC6F}" type="pres">
      <dgm:prSet presAssocID="{1F5469B8-5419-4A8D-BBBD-C66366EEAE71}" presName="rootConnector" presStyleLbl="node3" presStyleIdx="3" presStyleCnt="6"/>
      <dgm:spPr/>
      <dgm:t>
        <a:bodyPr/>
        <a:lstStyle/>
        <a:p>
          <a:endParaRPr lang="ru-RU"/>
        </a:p>
      </dgm:t>
    </dgm:pt>
    <dgm:pt modelId="{E2B5C924-D1D4-4A18-9382-A224E30602EA}" type="pres">
      <dgm:prSet presAssocID="{1F5469B8-5419-4A8D-BBBD-C66366EEAE71}" presName="hierChild4" presStyleCnt="0"/>
      <dgm:spPr/>
    </dgm:pt>
    <dgm:pt modelId="{A049F191-E9E2-4B20-BB42-293D4DBCFD5C}" type="pres">
      <dgm:prSet presAssocID="{1F5469B8-5419-4A8D-BBBD-C66366EEAE71}" presName="hierChild5" presStyleCnt="0"/>
      <dgm:spPr/>
    </dgm:pt>
    <dgm:pt modelId="{1EEB610B-3F61-4BF9-B9E8-B347D7BD195C}" type="pres">
      <dgm:prSet presAssocID="{CD28277B-51FA-4456-92DC-240B80F7E2B5}" presName="hierChild5" presStyleCnt="0"/>
      <dgm:spPr/>
    </dgm:pt>
    <dgm:pt modelId="{9A96FD0E-FE29-4951-8F1E-C8DBD9028AE2}" type="pres">
      <dgm:prSet presAssocID="{09E55509-C277-4890-826F-66913B9BD87C}" presName="Name37" presStyleLbl="parChTrans1D2" presStyleIdx="1" presStyleCnt="2"/>
      <dgm:spPr/>
      <dgm:t>
        <a:bodyPr/>
        <a:lstStyle/>
        <a:p>
          <a:endParaRPr lang="ru-RU"/>
        </a:p>
      </dgm:t>
    </dgm:pt>
    <dgm:pt modelId="{DE88D025-E582-4C93-9BC9-6D9DE26CD783}" type="pres">
      <dgm:prSet presAssocID="{B75B5F6B-534C-4018-A558-FE4703E4D91D}" presName="hierRoot2" presStyleCnt="0">
        <dgm:presLayoutVars>
          <dgm:hierBranch val="init"/>
        </dgm:presLayoutVars>
      </dgm:prSet>
      <dgm:spPr/>
    </dgm:pt>
    <dgm:pt modelId="{3A82E6ED-927C-47F8-993E-921C4774FFBD}" type="pres">
      <dgm:prSet presAssocID="{B75B5F6B-534C-4018-A558-FE4703E4D91D}" presName="rootComposite" presStyleCnt="0"/>
      <dgm:spPr/>
    </dgm:pt>
    <dgm:pt modelId="{126F5AB8-B384-48FC-BACB-917446FD0B05}" type="pres">
      <dgm:prSet presAssocID="{B75B5F6B-534C-4018-A558-FE4703E4D91D}" presName="rootText" presStyleLbl="node2" presStyleIdx="1" presStyleCnt="2" custScaleX="352305" custScaleY="140922" custLinFactNeighborX="4144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BB7FEBF2-0E21-40AA-A090-5299570316B0}" type="pres">
      <dgm:prSet presAssocID="{B75B5F6B-534C-4018-A558-FE4703E4D91D}" presName="rootConnector" presStyleLbl="node2" presStyleIdx="1" presStyleCnt="2"/>
      <dgm:spPr/>
      <dgm:t>
        <a:bodyPr/>
        <a:lstStyle/>
        <a:p>
          <a:endParaRPr lang="ru-RU"/>
        </a:p>
      </dgm:t>
    </dgm:pt>
    <dgm:pt modelId="{7FD6F0B7-DDF1-4670-A4CF-AD0F266CD4AD}" type="pres">
      <dgm:prSet presAssocID="{B75B5F6B-534C-4018-A558-FE4703E4D91D}" presName="hierChild4" presStyleCnt="0"/>
      <dgm:spPr/>
    </dgm:pt>
    <dgm:pt modelId="{04E0F1E0-111D-4E88-8F5B-61DCFDF12B54}" type="pres">
      <dgm:prSet presAssocID="{40CA72A4-56D9-4423-8CC1-05D62B8BA254}" presName="Name37" presStyleLbl="parChTrans1D3" presStyleIdx="4" presStyleCnt="6"/>
      <dgm:spPr/>
      <dgm:t>
        <a:bodyPr/>
        <a:lstStyle/>
        <a:p>
          <a:endParaRPr lang="ru-RU"/>
        </a:p>
      </dgm:t>
    </dgm:pt>
    <dgm:pt modelId="{F8ACBFB1-57E3-4F81-AF91-01A18DFEBB7D}" type="pres">
      <dgm:prSet presAssocID="{04E9FAF1-78C0-4A24-801C-0B9F0E062380}" presName="hierRoot2" presStyleCnt="0">
        <dgm:presLayoutVars>
          <dgm:hierBranch val="init"/>
        </dgm:presLayoutVars>
      </dgm:prSet>
      <dgm:spPr/>
    </dgm:pt>
    <dgm:pt modelId="{8BC6B3D5-7AEF-4FE7-9737-CACFFBB2EAC4}" type="pres">
      <dgm:prSet presAssocID="{04E9FAF1-78C0-4A24-801C-0B9F0E062380}" presName="rootComposite" presStyleCnt="0"/>
      <dgm:spPr/>
    </dgm:pt>
    <dgm:pt modelId="{8674073C-C6D7-448A-B063-DF2C9F184737}" type="pres">
      <dgm:prSet presAssocID="{04E9FAF1-78C0-4A24-801C-0B9F0E062380}" presName="rootText" presStyleLbl="node3" presStyleIdx="4" presStyleCnt="6" custScaleX="199495" custScaleY="106251" custLinFactNeighborX="-786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8B4B363-0F5B-461C-A893-D7AD35736AD7}" type="pres">
      <dgm:prSet presAssocID="{04E9FAF1-78C0-4A24-801C-0B9F0E062380}" presName="rootConnector" presStyleLbl="node3" presStyleIdx="4" presStyleCnt="6"/>
      <dgm:spPr/>
      <dgm:t>
        <a:bodyPr/>
        <a:lstStyle/>
        <a:p>
          <a:endParaRPr lang="ru-RU"/>
        </a:p>
      </dgm:t>
    </dgm:pt>
    <dgm:pt modelId="{B6D6B3CF-A56F-4672-8694-A656C6D37F58}" type="pres">
      <dgm:prSet presAssocID="{04E9FAF1-78C0-4A24-801C-0B9F0E062380}" presName="hierChild4" presStyleCnt="0"/>
      <dgm:spPr/>
    </dgm:pt>
    <dgm:pt modelId="{CBF2FD9C-1BD5-45B2-8537-036A9F80AACE}" type="pres">
      <dgm:prSet presAssocID="{04E9FAF1-78C0-4A24-801C-0B9F0E062380}" presName="hierChild5" presStyleCnt="0"/>
      <dgm:spPr/>
    </dgm:pt>
    <dgm:pt modelId="{7424BA79-C4E6-4472-89AD-52C5E82983A1}" type="pres">
      <dgm:prSet presAssocID="{4D32A711-4921-43D9-8286-54FA00979A37}" presName="Name37" presStyleLbl="parChTrans1D3" presStyleIdx="5" presStyleCnt="6"/>
      <dgm:spPr/>
      <dgm:t>
        <a:bodyPr/>
        <a:lstStyle/>
        <a:p>
          <a:endParaRPr lang="ru-RU"/>
        </a:p>
      </dgm:t>
    </dgm:pt>
    <dgm:pt modelId="{4E2BC7B6-7813-46FE-B0A8-7AA8BE141090}" type="pres">
      <dgm:prSet presAssocID="{378CF3D7-1480-42C5-A86E-325DAC838B0B}" presName="hierRoot2" presStyleCnt="0">
        <dgm:presLayoutVars>
          <dgm:hierBranch val="init"/>
        </dgm:presLayoutVars>
      </dgm:prSet>
      <dgm:spPr/>
    </dgm:pt>
    <dgm:pt modelId="{7D5E7642-FE2B-4020-8CDB-2A10CB688637}" type="pres">
      <dgm:prSet presAssocID="{378CF3D7-1480-42C5-A86E-325DAC838B0B}" presName="rootComposite" presStyleCnt="0"/>
      <dgm:spPr/>
    </dgm:pt>
    <dgm:pt modelId="{1D0CE523-1BF0-41F3-B846-98E4C203C4D4}" type="pres">
      <dgm:prSet presAssocID="{378CF3D7-1480-42C5-A86E-325DAC838B0B}" presName="rootText" presStyleLbl="node3" presStyleIdx="5" presStyleCnt="6" custScaleX="270739" custScaleY="106669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4222A776-6040-45D7-92F0-EA0B6E94C552}" type="pres">
      <dgm:prSet presAssocID="{378CF3D7-1480-42C5-A86E-325DAC838B0B}" presName="rootConnector" presStyleLbl="node3" presStyleIdx="5" presStyleCnt="6"/>
      <dgm:spPr/>
      <dgm:t>
        <a:bodyPr/>
        <a:lstStyle/>
        <a:p>
          <a:endParaRPr lang="ru-RU"/>
        </a:p>
      </dgm:t>
    </dgm:pt>
    <dgm:pt modelId="{CD890A30-EEE6-4F00-ABA3-677F2113D1EC}" type="pres">
      <dgm:prSet presAssocID="{378CF3D7-1480-42C5-A86E-325DAC838B0B}" presName="hierChild4" presStyleCnt="0"/>
      <dgm:spPr/>
    </dgm:pt>
    <dgm:pt modelId="{DF306F51-C4BF-417A-A29A-6C8A69EFB12D}" type="pres">
      <dgm:prSet presAssocID="{D2AAB5A1-F8BF-4094-BCEA-FA44E6C335F0}" presName="Name37" presStyleLbl="parChTrans1D4" presStyleIdx="0" presStyleCnt="5"/>
      <dgm:spPr/>
      <dgm:t>
        <a:bodyPr/>
        <a:lstStyle/>
        <a:p>
          <a:endParaRPr lang="ru-RU"/>
        </a:p>
      </dgm:t>
    </dgm:pt>
    <dgm:pt modelId="{AE93540C-F6CA-4999-A5F0-29DE0A7227DC}" type="pres">
      <dgm:prSet presAssocID="{037A4173-DEDE-4443-8F63-CB05707A5FE6}" presName="hierRoot2" presStyleCnt="0">
        <dgm:presLayoutVars>
          <dgm:hierBranch val="init"/>
        </dgm:presLayoutVars>
      </dgm:prSet>
      <dgm:spPr/>
    </dgm:pt>
    <dgm:pt modelId="{932DC12C-1E05-4BEE-8D54-11F36A420CB4}" type="pres">
      <dgm:prSet presAssocID="{037A4173-DEDE-4443-8F63-CB05707A5FE6}" presName="rootComposite" presStyleCnt="0"/>
      <dgm:spPr/>
    </dgm:pt>
    <dgm:pt modelId="{3D8CF0B5-EEEA-4C63-A0E6-9D523AD693A1}" type="pres">
      <dgm:prSet presAssocID="{037A4173-DEDE-4443-8F63-CB05707A5FE6}" presName="rootText" presStyleLbl="node4" presStyleIdx="0" presStyleCnt="5" custScaleX="313492" custScaleY="11347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AA9251C-EB5B-455B-93A9-2FD80F21D5E2}" type="pres">
      <dgm:prSet presAssocID="{037A4173-DEDE-4443-8F63-CB05707A5FE6}" presName="rootConnector" presStyleLbl="node4" presStyleIdx="0" presStyleCnt="5"/>
      <dgm:spPr/>
      <dgm:t>
        <a:bodyPr/>
        <a:lstStyle/>
        <a:p>
          <a:endParaRPr lang="ru-RU"/>
        </a:p>
      </dgm:t>
    </dgm:pt>
    <dgm:pt modelId="{0BA96A6E-1589-4794-8DBB-882E6DCC5CF2}" type="pres">
      <dgm:prSet presAssocID="{037A4173-DEDE-4443-8F63-CB05707A5FE6}" presName="hierChild4" presStyleCnt="0"/>
      <dgm:spPr/>
    </dgm:pt>
    <dgm:pt modelId="{679DF6E9-4A30-4A7E-B954-31390DC454FD}" type="pres">
      <dgm:prSet presAssocID="{037A4173-DEDE-4443-8F63-CB05707A5FE6}" presName="hierChild5" presStyleCnt="0"/>
      <dgm:spPr/>
    </dgm:pt>
    <dgm:pt modelId="{29548FEE-711C-4245-9E1A-82B2426E9B35}" type="pres">
      <dgm:prSet presAssocID="{F89806EB-CF99-4D22-B179-4891D0B21D89}" presName="Name37" presStyleLbl="parChTrans1D4" presStyleIdx="1" presStyleCnt="5"/>
      <dgm:spPr/>
      <dgm:t>
        <a:bodyPr/>
        <a:lstStyle/>
        <a:p>
          <a:endParaRPr lang="ru-RU"/>
        </a:p>
      </dgm:t>
    </dgm:pt>
    <dgm:pt modelId="{397D9398-BF29-4596-B633-CDF0A33206FD}" type="pres">
      <dgm:prSet presAssocID="{B6D77C4F-8A4A-431F-B6C2-CBFA96C6D401}" presName="hierRoot2" presStyleCnt="0">
        <dgm:presLayoutVars>
          <dgm:hierBranch val="init"/>
        </dgm:presLayoutVars>
      </dgm:prSet>
      <dgm:spPr/>
    </dgm:pt>
    <dgm:pt modelId="{E9E31E49-3055-4268-8A66-8F76AC06742A}" type="pres">
      <dgm:prSet presAssocID="{B6D77C4F-8A4A-431F-B6C2-CBFA96C6D401}" presName="rootComposite" presStyleCnt="0"/>
      <dgm:spPr/>
    </dgm:pt>
    <dgm:pt modelId="{52A9E198-4443-4933-8EB1-AE44E0A7DA4B}" type="pres">
      <dgm:prSet presAssocID="{B6D77C4F-8A4A-431F-B6C2-CBFA96C6D401}" presName="rootText" presStyleLbl="node4" presStyleIdx="1" presStyleCnt="5" custScaleX="313492" custScaleY="11347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C6D018E-2C71-48B9-848B-4F37FE6786B0}" type="pres">
      <dgm:prSet presAssocID="{B6D77C4F-8A4A-431F-B6C2-CBFA96C6D401}" presName="rootConnector" presStyleLbl="node4" presStyleIdx="1" presStyleCnt="5"/>
      <dgm:spPr/>
      <dgm:t>
        <a:bodyPr/>
        <a:lstStyle/>
        <a:p>
          <a:endParaRPr lang="ru-RU"/>
        </a:p>
      </dgm:t>
    </dgm:pt>
    <dgm:pt modelId="{BCF008CC-DFA1-4ACB-92E7-9F01E61F2EE1}" type="pres">
      <dgm:prSet presAssocID="{B6D77C4F-8A4A-431F-B6C2-CBFA96C6D401}" presName="hierChild4" presStyleCnt="0"/>
      <dgm:spPr/>
    </dgm:pt>
    <dgm:pt modelId="{6A3492FD-6BBB-422E-B0CC-B1827902E0DC}" type="pres">
      <dgm:prSet presAssocID="{B6D77C4F-8A4A-431F-B6C2-CBFA96C6D401}" presName="hierChild5" presStyleCnt="0"/>
      <dgm:spPr/>
    </dgm:pt>
    <dgm:pt modelId="{1FA8F71E-A93A-4882-8CF5-D20809E91474}" type="pres">
      <dgm:prSet presAssocID="{87EB1315-57D9-4CFC-918D-25A8040D2671}" presName="Name37" presStyleLbl="parChTrans1D4" presStyleIdx="2" presStyleCnt="5"/>
      <dgm:spPr/>
      <dgm:t>
        <a:bodyPr/>
        <a:lstStyle/>
        <a:p>
          <a:endParaRPr lang="ru-RU"/>
        </a:p>
      </dgm:t>
    </dgm:pt>
    <dgm:pt modelId="{4D71537A-2B96-469F-981B-DAADF3E55921}" type="pres">
      <dgm:prSet presAssocID="{F2C47EC1-B811-41D3-9AFB-2737DFABA067}" presName="hierRoot2" presStyleCnt="0">
        <dgm:presLayoutVars>
          <dgm:hierBranch val="init"/>
        </dgm:presLayoutVars>
      </dgm:prSet>
      <dgm:spPr/>
    </dgm:pt>
    <dgm:pt modelId="{F481B4B0-5103-488C-BA6A-A7C310A36AB4}" type="pres">
      <dgm:prSet presAssocID="{F2C47EC1-B811-41D3-9AFB-2737DFABA067}" presName="rootComposite" presStyleCnt="0"/>
      <dgm:spPr/>
    </dgm:pt>
    <dgm:pt modelId="{7C90035B-E015-438D-BBBA-816985B75791}" type="pres">
      <dgm:prSet presAssocID="{F2C47EC1-B811-41D3-9AFB-2737DFABA067}" presName="rootText" presStyleLbl="node4" presStyleIdx="2" presStyleCnt="5" custScaleX="313492" custScaleY="11347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B6F19852-C929-44BC-A102-5BBCA5F0D064}" type="pres">
      <dgm:prSet presAssocID="{F2C47EC1-B811-41D3-9AFB-2737DFABA067}" presName="rootConnector" presStyleLbl="node4" presStyleIdx="2" presStyleCnt="5"/>
      <dgm:spPr/>
      <dgm:t>
        <a:bodyPr/>
        <a:lstStyle/>
        <a:p>
          <a:endParaRPr lang="ru-RU"/>
        </a:p>
      </dgm:t>
    </dgm:pt>
    <dgm:pt modelId="{93AFD5BD-219A-412B-B569-12CE5194EEC1}" type="pres">
      <dgm:prSet presAssocID="{F2C47EC1-B811-41D3-9AFB-2737DFABA067}" presName="hierChild4" presStyleCnt="0"/>
      <dgm:spPr/>
    </dgm:pt>
    <dgm:pt modelId="{6CEC6CAC-DDFD-4A3F-87E5-E94691D6F451}" type="pres">
      <dgm:prSet presAssocID="{F2C47EC1-B811-41D3-9AFB-2737DFABA067}" presName="hierChild5" presStyleCnt="0"/>
      <dgm:spPr/>
    </dgm:pt>
    <dgm:pt modelId="{6ED43F32-90FF-4FC7-927D-6E0343051069}" type="pres">
      <dgm:prSet presAssocID="{025E9F70-1B2B-4501-9497-17E2A32B8C27}" presName="Name37" presStyleLbl="parChTrans1D4" presStyleIdx="3" presStyleCnt="5"/>
      <dgm:spPr/>
      <dgm:t>
        <a:bodyPr/>
        <a:lstStyle/>
        <a:p>
          <a:endParaRPr lang="ru-RU"/>
        </a:p>
      </dgm:t>
    </dgm:pt>
    <dgm:pt modelId="{BDC533E0-A33A-4A81-BFBD-BD66122A533F}" type="pres">
      <dgm:prSet presAssocID="{566ABFC3-D925-402A-88F9-1FFFD10F45DF}" presName="hierRoot2" presStyleCnt="0">
        <dgm:presLayoutVars>
          <dgm:hierBranch val="init"/>
        </dgm:presLayoutVars>
      </dgm:prSet>
      <dgm:spPr/>
    </dgm:pt>
    <dgm:pt modelId="{FC5889A8-D79B-4551-9605-561437EBA13B}" type="pres">
      <dgm:prSet presAssocID="{566ABFC3-D925-402A-88F9-1FFFD10F45DF}" presName="rootComposite" presStyleCnt="0"/>
      <dgm:spPr/>
    </dgm:pt>
    <dgm:pt modelId="{D34643E6-13F7-4D4E-9D5A-996AC4E37620}" type="pres">
      <dgm:prSet presAssocID="{566ABFC3-D925-402A-88F9-1FFFD10F45DF}" presName="rootText" presStyleLbl="node4" presStyleIdx="3" presStyleCnt="5" custScaleX="313492" custScaleY="11347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E6D3784-4713-4ED8-9E5E-35C21A18D1CB}" type="pres">
      <dgm:prSet presAssocID="{566ABFC3-D925-402A-88F9-1FFFD10F45DF}" presName="rootConnector" presStyleLbl="node4" presStyleIdx="3" presStyleCnt="5"/>
      <dgm:spPr/>
      <dgm:t>
        <a:bodyPr/>
        <a:lstStyle/>
        <a:p>
          <a:endParaRPr lang="ru-RU"/>
        </a:p>
      </dgm:t>
    </dgm:pt>
    <dgm:pt modelId="{000488B5-54C9-44B6-A0B0-6435CB289B07}" type="pres">
      <dgm:prSet presAssocID="{566ABFC3-D925-402A-88F9-1FFFD10F45DF}" presName="hierChild4" presStyleCnt="0"/>
      <dgm:spPr/>
    </dgm:pt>
    <dgm:pt modelId="{8F8DDCA9-2749-433E-9DDB-63712232EA4B}" type="pres">
      <dgm:prSet presAssocID="{566ABFC3-D925-402A-88F9-1FFFD10F45DF}" presName="hierChild5" presStyleCnt="0"/>
      <dgm:spPr/>
    </dgm:pt>
    <dgm:pt modelId="{8EBE525B-B233-4675-B40B-7DA7796641D7}" type="pres">
      <dgm:prSet presAssocID="{D6FA7EAC-B170-4B64-AAA1-605E4EF0DDE4}" presName="Name37" presStyleLbl="parChTrans1D4" presStyleIdx="4" presStyleCnt="5"/>
      <dgm:spPr/>
      <dgm:t>
        <a:bodyPr/>
        <a:lstStyle/>
        <a:p>
          <a:endParaRPr lang="ru-RU"/>
        </a:p>
      </dgm:t>
    </dgm:pt>
    <dgm:pt modelId="{46216CCE-70A2-427D-8819-1138B291D0FE}" type="pres">
      <dgm:prSet presAssocID="{545F5D5B-BD34-46FE-82AA-5511861D225D}" presName="hierRoot2" presStyleCnt="0">
        <dgm:presLayoutVars>
          <dgm:hierBranch val="init"/>
        </dgm:presLayoutVars>
      </dgm:prSet>
      <dgm:spPr/>
    </dgm:pt>
    <dgm:pt modelId="{17F75208-CFC3-4A15-9654-A7665821B220}" type="pres">
      <dgm:prSet presAssocID="{545F5D5B-BD34-46FE-82AA-5511861D225D}" presName="rootComposite" presStyleCnt="0"/>
      <dgm:spPr/>
    </dgm:pt>
    <dgm:pt modelId="{0107A703-235B-40E9-97C0-3664F4CFD3B0}" type="pres">
      <dgm:prSet presAssocID="{545F5D5B-BD34-46FE-82AA-5511861D225D}" presName="rootText" presStyleLbl="node4" presStyleIdx="4" presStyleCnt="5" custScaleX="313492" custScaleY="12195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92E3AE2C-AF73-46F5-9EB2-4B1566B73E21}" type="pres">
      <dgm:prSet presAssocID="{545F5D5B-BD34-46FE-82AA-5511861D225D}" presName="rootConnector" presStyleLbl="node4" presStyleIdx="4" presStyleCnt="5"/>
      <dgm:spPr/>
      <dgm:t>
        <a:bodyPr/>
        <a:lstStyle/>
        <a:p>
          <a:endParaRPr lang="ru-RU"/>
        </a:p>
      </dgm:t>
    </dgm:pt>
    <dgm:pt modelId="{77D59739-0038-4ED9-8A0D-D196B7C418FF}" type="pres">
      <dgm:prSet presAssocID="{545F5D5B-BD34-46FE-82AA-5511861D225D}" presName="hierChild4" presStyleCnt="0"/>
      <dgm:spPr/>
    </dgm:pt>
    <dgm:pt modelId="{F21EF9C8-4232-42F2-9792-4CE9557ED4F9}" type="pres">
      <dgm:prSet presAssocID="{545F5D5B-BD34-46FE-82AA-5511861D225D}" presName="hierChild5" presStyleCnt="0"/>
      <dgm:spPr/>
    </dgm:pt>
    <dgm:pt modelId="{EDE9252E-76AC-4277-862C-3B4E8DDB0C62}" type="pres">
      <dgm:prSet presAssocID="{378CF3D7-1480-42C5-A86E-325DAC838B0B}" presName="hierChild5" presStyleCnt="0"/>
      <dgm:spPr/>
    </dgm:pt>
    <dgm:pt modelId="{6BB001D7-38D8-4FEC-A45E-3A07D9F50158}" type="pres">
      <dgm:prSet presAssocID="{B75B5F6B-534C-4018-A558-FE4703E4D91D}" presName="hierChild5" presStyleCnt="0"/>
      <dgm:spPr/>
    </dgm:pt>
    <dgm:pt modelId="{C4FF6C48-8173-4E9D-87EB-CAF67D916ED4}" type="pres">
      <dgm:prSet presAssocID="{F22A48F7-51AC-4464-867D-40F9695B1602}" presName="hierChild3" presStyleCnt="0"/>
      <dgm:spPr/>
    </dgm:pt>
  </dgm:ptLst>
  <dgm:cxnLst>
    <dgm:cxn modelId="{A742BAF6-5A00-40A2-AD6F-B88230B882E5}" type="presOf" srcId="{566ABFC3-D925-402A-88F9-1FFFD10F45DF}" destId="{EE6D3784-4713-4ED8-9E5E-35C21A18D1CB}" srcOrd="1" destOrd="0" presId="urn:microsoft.com/office/officeart/2005/8/layout/orgChart1"/>
    <dgm:cxn modelId="{4A6E5853-96BB-4250-9185-2C9967A51680}" type="presOf" srcId="{09E55509-C277-4890-826F-66913B9BD87C}" destId="{9A96FD0E-FE29-4951-8F1E-C8DBD9028AE2}" srcOrd="0" destOrd="0" presId="urn:microsoft.com/office/officeart/2005/8/layout/orgChart1"/>
    <dgm:cxn modelId="{790E9341-877B-45D3-8C07-05820A817C0A}" type="presOf" srcId="{B6D77C4F-8A4A-431F-B6C2-CBFA96C6D401}" destId="{FC6D018E-2C71-48B9-848B-4F37FE6786B0}" srcOrd="1" destOrd="0" presId="urn:microsoft.com/office/officeart/2005/8/layout/orgChart1"/>
    <dgm:cxn modelId="{2CE8C583-4FBC-47A4-80FD-BD68B4361B96}" type="presOf" srcId="{B6D77C4F-8A4A-431F-B6C2-CBFA96C6D401}" destId="{52A9E198-4443-4933-8EB1-AE44E0A7DA4B}" srcOrd="0" destOrd="0" presId="urn:microsoft.com/office/officeart/2005/8/layout/orgChart1"/>
    <dgm:cxn modelId="{AC58EE27-1256-4361-BBB6-C0A0EF2EE7A9}" srcId="{378CF3D7-1480-42C5-A86E-325DAC838B0B}" destId="{566ABFC3-D925-402A-88F9-1FFFD10F45DF}" srcOrd="3" destOrd="0" parTransId="{025E9F70-1B2B-4501-9497-17E2A32B8C27}" sibTransId="{775C758C-6477-4E4A-949E-4E112238E0F5}"/>
    <dgm:cxn modelId="{775E367F-2B6A-4E63-87F0-6BD4DBA1E634}" srcId="{CD28277B-51FA-4456-92DC-240B80F7E2B5}" destId="{AD45BA08-892D-4668-A986-EA61B8FED125}" srcOrd="0" destOrd="0" parTransId="{75E15C22-5A1A-4685-9192-21B4579BDC49}" sibTransId="{7A39D7E0-AE63-4056-8DDF-7A7360840034}"/>
    <dgm:cxn modelId="{77D157D1-68AE-45C3-ACCB-F0A3572C77B4}" type="presOf" srcId="{99FF0A64-69BE-4714-9B66-DB388F929298}" destId="{34D5728F-09C0-4B14-AC05-9BBCBABFF3D5}" srcOrd="0" destOrd="0" presId="urn:microsoft.com/office/officeart/2005/8/layout/orgChart1"/>
    <dgm:cxn modelId="{A4343FEF-36B8-4193-9B88-8AC4AC6A8A8C}" srcId="{CD28277B-51FA-4456-92DC-240B80F7E2B5}" destId="{99FF0A64-69BE-4714-9B66-DB388F929298}" srcOrd="1" destOrd="0" parTransId="{58BE4EA4-CD4C-4BAE-9242-29305364A9F3}" sibTransId="{7202D758-0916-4C6D-AB59-FFE2304B989A}"/>
    <dgm:cxn modelId="{3597D2D7-C794-4C8F-957D-035CADF5CDAD}" type="presOf" srcId="{F2C47EC1-B811-41D3-9AFB-2737DFABA067}" destId="{B6F19852-C929-44BC-A102-5BBCA5F0D064}" srcOrd="1" destOrd="0" presId="urn:microsoft.com/office/officeart/2005/8/layout/orgChart1"/>
    <dgm:cxn modelId="{A49E77BC-DD8A-4387-ACB5-DC445F9A00CE}" type="presOf" srcId="{378CF3D7-1480-42C5-A86E-325DAC838B0B}" destId="{4222A776-6040-45D7-92F0-EA0B6E94C552}" srcOrd="1" destOrd="0" presId="urn:microsoft.com/office/officeart/2005/8/layout/orgChart1"/>
    <dgm:cxn modelId="{6364C942-A0FF-4BAC-A218-C5E10BCDD04D}" type="presOf" srcId="{AD45BA08-892D-4668-A986-EA61B8FED125}" destId="{8B4290D6-9B95-43B7-9A11-6B51DAB394F3}" srcOrd="0" destOrd="0" presId="urn:microsoft.com/office/officeart/2005/8/layout/orgChart1"/>
    <dgm:cxn modelId="{D4F7ED30-FD92-4929-95E4-7012EF490C6B}" type="presOf" srcId="{1F5469B8-5419-4A8D-BBBD-C66366EEAE71}" destId="{88595906-6856-4DFF-B252-0C0BFC06DC6F}" srcOrd="1" destOrd="0" presId="urn:microsoft.com/office/officeart/2005/8/layout/orgChart1"/>
    <dgm:cxn modelId="{DEDFEEA1-ABBA-46A1-9974-F4B94EA52B0F}" srcId="{6C8C32B0-B178-4F9D-89D2-D4A67D34D5EA}" destId="{F22A48F7-51AC-4464-867D-40F9695B1602}" srcOrd="0" destOrd="0" parTransId="{23D54764-B295-4F94-A9BF-BA42E8EA644F}" sibTransId="{04976F84-93DD-436C-84FE-7016D59F91A1}"/>
    <dgm:cxn modelId="{AFCC7EF0-998F-4CD8-98F2-9000C8DFC686}" srcId="{378CF3D7-1480-42C5-A86E-325DAC838B0B}" destId="{545F5D5B-BD34-46FE-82AA-5511861D225D}" srcOrd="4" destOrd="0" parTransId="{D6FA7EAC-B170-4B64-AAA1-605E4EF0DDE4}" sibTransId="{AB50F526-6939-4EFA-9F42-C7A758D3A573}"/>
    <dgm:cxn modelId="{B173A4ED-38A9-44D2-AD87-700E7959320D}" type="presOf" srcId="{6C8C32B0-B178-4F9D-89D2-D4A67D34D5EA}" destId="{DAEE2B8D-CDDF-433F-9014-3CC96FE17C73}" srcOrd="0" destOrd="0" presId="urn:microsoft.com/office/officeart/2005/8/layout/orgChart1"/>
    <dgm:cxn modelId="{55A88377-5E98-4078-992D-A021114B91AD}" type="presOf" srcId="{AD45BA08-892D-4668-A986-EA61B8FED125}" destId="{FD59D0EC-3A15-4C06-A6A1-008675C305D7}" srcOrd="1" destOrd="0" presId="urn:microsoft.com/office/officeart/2005/8/layout/orgChart1"/>
    <dgm:cxn modelId="{BE36689F-0D89-4B70-BFAD-29C1A8997725}" type="presOf" srcId="{04E9FAF1-78C0-4A24-801C-0B9F0E062380}" destId="{F8B4B363-0F5B-461C-A893-D7AD35736AD7}" srcOrd="1" destOrd="0" presId="urn:microsoft.com/office/officeart/2005/8/layout/orgChart1"/>
    <dgm:cxn modelId="{F4C6C1AF-DDC7-4687-9689-40B724E41DC8}" type="presOf" srcId="{58BE4EA4-CD4C-4BAE-9242-29305364A9F3}" destId="{400F91B0-A13F-4314-A0F3-5E596104580D}" srcOrd="0" destOrd="0" presId="urn:microsoft.com/office/officeart/2005/8/layout/orgChart1"/>
    <dgm:cxn modelId="{CE09DDA3-0889-4290-A80E-16C3133B8B7A}" srcId="{B75B5F6B-534C-4018-A558-FE4703E4D91D}" destId="{378CF3D7-1480-42C5-A86E-325DAC838B0B}" srcOrd="1" destOrd="0" parTransId="{4D32A711-4921-43D9-8286-54FA00979A37}" sibTransId="{A0F6E01F-1CB2-4453-88EB-293A37A3C55F}"/>
    <dgm:cxn modelId="{889546EF-671B-4A33-BDF6-6D162EFD0C30}" type="presOf" srcId="{037A4173-DEDE-4443-8F63-CB05707A5FE6}" destId="{EAA9251C-EB5B-455B-93A9-2FD80F21D5E2}" srcOrd="1" destOrd="0" presId="urn:microsoft.com/office/officeart/2005/8/layout/orgChart1"/>
    <dgm:cxn modelId="{D2B7E7C1-40C1-44D8-886A-76E65DFB5ABD}" type="presOf" srcId="{CD28277B-51FA-4456-92DC-240B80F7E2B5}" destId="{B3660C43-1E63-4365-B4EA-A3E64D49A6EC}" srcOrd="0" destOrd="0" presId="urn:microsoft.com/office/officeart/2005/8/layout/orgChart1"/>
    <dgm:cxn modelId="{22817DE6-B9BC-43C2-ABF8-249CFA0C7F9B}" srcId="{F22A48F7-51AC-4464-867D-40F9695B1602}" destId="{B75B5F6B-534C-4018-A558-FE4703E4D91D}" srcOrd="1" destOrd="0" parTransId="{09E55509-C277-4890-826F-66913B9BD87C}" sibTransId="{71D03BAD-089E-4455-811D-2CCF859AF5B5}"/>
    <dgm:cxn modelId="{3248C75B-AD74-4328-9693-4F682A108B98}" type="presOf" srcId="{C56FD3A5-4972-4D08-957B-03FEB7D15C64}" destId="{F78CA9D4-706A-44B3-AD8F-1AC89C5A27DB}" srcOrd="0" destOrd="0" presId="urn:microsoft.com/office/officeart/2005/8/layout/orgChart1"/>
    <dgm:cxn modelId="{E58791D1-E7A9-4CBD-9951-AC1AE88C2358}" type="presOf" srcId="{545F5D5B-BD34-46FE-82AA-5511861D225D}" destId="{0107A703-235B-40E9-97C0-3664F4CFD3B0}" srcOrd="0" destOrd="0" presId="urn:microsoft.com/office/officeart/2005/8/layout/orgChart1"/>
    <dgm:cxn modelId="{44E35158-C09C-4ADD-961F-FC05CFF3ED86}" type="presOf" srcId="{B75B5F6B-534C-4018-A558-FE4703E4D91D}" destId="{BB7FEBF2-0E21-40AA-A090-5299570316B0}" srcOrd="1" destOrd="0" presId="urn:microsoft.com/office/officeart/2005/8/layout/orgChart1"/>
    <dgm:cxn modelId="{4BB16301-705B-4540-9C28-5D272F4A17B8}" srcId="{378CF3D7-1480-42C5-A86E-325DAC838B0B}" destId="{037A4173-DEDE-4443-8F63-CB05707A5FE6}" srcOrd="0" destOrd="0" parTransId="{D2AAB5A1-F8BF-4094-BCEA-FA44E6C335F0}" sibTransId="{C56B0016-2AE9-496A-8CA9-AFD78E6D3EDE}"/>
    <dgm:cxn modelId="{633635BD-1EF5-42D0-B735-3E2D09C9B2C9}" type="presOf" srcId="{566ABFC3-D925-402A-88F9-1FFFD10F45DF}" destId="{D34643E6-13F7-4D4E-9D5A-996AC4E37620}" srcOrd="0" destOrd="0" presId="urn:microsoft.com/office/officeart/2005/8/layout/orgChart1"/>
    <dgm:cxn modelId="{12B86C8E-3ECC-4E68-9CE1-14B98429EBF0}" type="presOf" srcId="{F2C47EC1-B811-41D3-9AFB-2737DFABA067}" destId="{7C90035B-E015-438D-BBBA-816985B75791}" srcOrd="0" destOrd="0" presId="urn:microsoft.com/office/officeart/2005/8/layout/orgChart1"/>
    <dgm:cxn modelId="{4E6CF655-A3E2-43B7-87C7-2AECFF12C952}" type="presOf" srcId="{F22A48F7-51AC-4464-867D-40F9695B1602}" destId="{CD5E320F-D863-49AD-8342-F91BA26F0063}" srcOrd="1" destOrd="0" presId="urn:microsoft.com/office/officeart/2005/8/layout/orgChart1"/>
    <dgm:cxn modelId="{EBA16CDF-239D-4538-AAA3-4979C5BC0877}" type="presOf" srcId="{F22A48F7-51AC-4464-867D-40F9695B1602}" destId="{B9366E58-9117-4B9C-B778-0E7360BF0F23}" srcOrd="0" destOrd="0" presId="urn:microsoft.com/office/officeart/2005/8/layout/orgChart1"/>
    <dgm:cxn modelId="{19B33CFF-BFDD-432F-8343-37CFF4E27BAB}" srcId="{CD28277B-51FA-4456-92DC-240B80F7E2B5}" destId="{1F5469B8-5419-4A8D-BBBD-C66366EEAE71}" srcOrd="3" destOrd="0" parTransId="{39BEFEDC-6E3C-4228-AA51-4CB8B2EE74AF}" sibTransId="{2C3D3413-F3B7-4370-971F-3E1C927C0234}"/>
    <dgm:cxn modelId="{CC87FAB7-599D-4C9D-AF1B-E3438367E8E6}" srcId="{CD28277B-51FA-4456-92DC-240B80F7E2B5}" destId="{C56FD3A5-4972-4D08-957B-03FEB7D15C64}" srcOrd="2" destOrd="0" parTransId="{E9FB2CB0-5EB3-44E5-A581-17D038FE70A8}" sibTransId="{F77D2BB0-B9A0-4E75-94E9-CCE5D0E9C9EB}"/>
    <dgm:cxn modelId="{0041A7EE-0465-4850-8AB3-CC3D77B2ECA6}" type="presOf" srcId="{04E9FAF1-78C0-4A24-801C-0B9F0E062380}" destId="{8674073C-C6D7-448A-B063-DF2C9F184737}" srcOrd="0" destOrd="0" presId="urn:microsoft.com/office/officeart/2005/8/layout/orgChart1"/>
    <dgm:cxn modelId="{07CB3950-B443-4858-A865-68835F8D4522}" type="presOf" srcId="{CD28277B-51FA-4456-92DC-240B80F7E2B5}" destId="{14ADA3EB-527D-4943-AA0B-2301881907E5}" srcOrd="1" destOrd="0" presId="urn:microsoft.com/office/officeart/2005/8/layout/orgChart1"/>
    <dgm:cxn modelId="{8565C65E-7EEF-4EBC-90DE-4CC82CC1B809}" type="presOf" srcId="{378CF3D7-1480-42C5-A86E-325DAC838B0B}" destId="{1D0CE523-1BF0-41F3-B846-98E4C203C4D4}" srcOrd="0" destOrd="0" presId="urn:microsoft.com/office/officeart/2005/8/layout/orgChart1"/>
    <dgm:cxn modelId="{C597B900-47A9-4C0D-8352-901E66D39425}" type="presOf" srcId="{1F5469B8-5419-4A8D-BBBD-C66366EEAE71}" destId="{50F39823-70CA-4040-B7FD-8BF523D3755F}" srcOrd="0" destOrd="0" presId="urn:microsoft.com/office/officeart/2005/8/layout/orgChart1"/>
    <dgm:cxn modelId="{E799AD9D-5B62-43D5-93A1-1571A144805E}" type="presOf" srcId="{D2AAB5A1-F8BF-4094-BCEA-FA44E6C335F0}" destId="{DF306F51-C4BF-417A-A29A-6C8A69EFB12D}" srcOrd="0" destOrd="0" presId="urn:microsoft.com/office/officeart/2005/8/layout/orgChart1"/>
    <dgm:cxn modelId="{0B74C744-B926-4692-BEAB-ED912673416D}" type="presOf" srcId="{99FF0A64-69BE-4714-9B66-DB388F929298}" destId="{5A9F3912-21A9-4F86-8BB6-BC92D0C517F0}" srcOrd="1" destOrd="0" presId="urn:microsoft.com/office/officeart/2005/8/layout/orgChart1"/>
    <dgm:cxn modelId="{4C0C3ADF-A6AD-4305-A377-7E08BAE6E24C}" type="presOf" srcId="{87EB1315-57D9-4CFC-918D-25A8040D2671}" destId="{1FA8F71E-A93A-4882-8CF5-D20809E91474}" srcOrd="0" destOrd="0" presId="urn:microsoft.com/office/officeart/2005/8/layout/orgChart1"/>
    <dgm:cxn modelId="{7505CF91-9D01-437C-B2CC-11B1838C686F}" srcId="{378CF3D7-1480-42C5-A86E-325DAC838B0B}" destId="{F2C47EC1-B811-41D3-9AFB-2737DFABA067}" srcOrd="2" destOrd="0" parTransId="{87EB1315-57D9-4CFC-918D-25A8040D2671}" sibTransId="{24BB6EB6-8C58-4608-88B0-A5E484081E30}"/>
    <dgm:cxn modelId="{209DB3F9-C9C6-4633-8538-70B1D7059A43}" type="presOf" srcId="{037A4173-DEDE-4443-8F63-CB05707A5FE6}" destId="{3D8CF0B5-EEEA-4C63-A0E6-9D523AD693A1}" srcOrd="0" destOrd="0" presId="urn:microsoft.com/office/officeart/2005/8/layout/orgChart1"/>
    <dgm:cxn modelId="{32F42523-34F5-4A82-B657-5800D727593F}" type="presOf" srcId="{40CA72A4-56D9-4423-8CC1-05D62B8BA254}" destId="{04E0F1E0-111D-4E88-8F5B-61DCFDF12B54}" srcOrd="0" destOrd="0" presId="urn:microsoft.com/office/officeart/2005/8/layout/orgChart1"/>
    <dgm:cxn modelId="{B36A239E-4A64-4300-87E7-BFF000C0355B}" type="presOf" srcId="{545F5D5B-BD34-46FE-82AA-5511861D225D}" destId="{92E3AE2C-AF73-46F5-9EB2-4B1566B73E21}" srcOrd="1" destOrd="0" presId="urn:microsoft.com/office/officeart/2005/8/layout/orgChart1"/>
    <dgm:cxn modelId="{6AFBCA52-2628-41C7-A78C-08C5CA097978}" srcId="{F22A48F7-51AC-4464-867D-40F9695B1602}" destId="{CD28277B-51FA-4456-92DC-240B80F7E2B5}" srcOrd="0" destOrd="0" parTransId="{FB5273B5-F8E0-46A6-801D-1AACE7D45875}" sibTransId="{226DD14E-27D1-47BA-B3CC-988DF0181C36}"/>
    <dgm:cxn modelId="{466353D0-4862-4FEE-9CDD-B0BAE25B0765}" type="presOf" srcId="{D6FA7EAC-B170-4B64-AAA1-605E4EF0DDE4}" destId="{8EBE525B-B233-4675-B40B-7DA7796641D7}" srcOrd="0" destOrd="0" presId="urn:microsoft.com/office/officeart/2005/8/layout/orgChart1"/>
    <dgm:cxn modelId="{FD78E897-8990-4552-AAD9-D774FADDB60E}" type="presOf" srcId="{4D32A711-4921-43D9-8286-54FA00979A37}" destId="{7424BA79-C4E6-4472-89AD-52C5E82983A1}" srcOrd="0" destOrd="0" presId="urn:microsoft.com/office/officeart/2005/8/layout/orgChart1"/>
    <dgm:cxn modelId="{EA567032-AF7A-4599-96F2-1817B9B43D62}" type="presOf" srcId="{B75B5F6B-534C-4018-A558-FE4703E4D91D}" destId="{126F5AB8-B384-48FC-BACB-917446FD0B05}" srcOrd="0" destOrd="0" presId="urn:microsoft.com/office/officeart/2005/8/layout/orgChart1"/>
    <dgm:cxn modelId="{72EE434C-B57E-48EE-90B5-D7EEE326EB02}" type="presOf" srcId="{F89806EB-CF99-4D22-B179-4891D0B21D89}" destId="{29548FEE-711C-4245-9E1A-82B2426E9B35}" srcOrd="0" destOrd="0" presId="urn:microsoft.com/office/officeart/2005/8/layout/orgChart1"/>
    <dgm:cxn modelId="{945EA045-989C-49B0-98AC-B463D391A8C2}" type="presOf" srcId="{FB5273B5-F8E0-46A6-801D-1AACE7D45875}" destId="{D7127933-1B61-4E75-8A6A-A707D302D783}" srcOrd="0" destOrd="0" presId="urn:microsoft.com/office/officeart/2005/8/layout/orgChart1"/>
    <dgm:cxn modelId="{B134CDD7-35D8-4074-A30A-F99283B59713}" type="presOf" srcId="{E9FB2CB0-5EB3-44E5-A581-17D038FE70A8}" destId="{094683F6-4A25-445E-8475-094BC485739B}" srcOrd="0" destOrd="0" presId="urn:microsoft.com/office/officeart/2005/8/layout/orgChart1"/>
    <dgm:cxn modelId="{F0BBFD64-2242-44F9-9C72-6856444A9B4E}" srcId="{B75B5F6B-534C-4018-A558-FE4703E4D91D}" destId="{04E9FAF1-78C0-4A24-801C-0B9F0E062380}" srcOrd="0" destOrd="0" parTransId="{40CA72A4-56D9-4423-8CC1-05D62B8BA254}" sibTransId="{A04D3ABF-E797-4F81-A0FC-D8BC7EEE73B2}"/>
    <dgm:cxn modelId="{323DC4B7-F921-4FA6-A749-F16FFF9B7C05}" type="presOf" srcId="{75E15C22-5A1A-4685-9192-21B4579BDC49}" destId="{31C9C071-24A8-4827-8B33-3398A8C731BA}" srcOrd="0" destOrd="0" presId="urn:microsoft.com/office/officeart/2005/8/layout/orgChart1"/>
    <dgm:cxn modelId="{E119DFF1-9D1F-468E-89BA-22D21AC3A7CF}" type="presOf" srcId="{39BEFEDC-6E3C-4228-AA51-4CB8B2EE74AF}" destId="{16835613-AEC6-467C-9E0E-35961AB3FCDC}" srcOrd="0" destOrd="0" presId="urn:microsoft.com/office/officeart/2005/8/layout/orgChart1"/>
    <dgm:cxn modelId="{021B4AC6-7BB5-474D-B855-F8CE4D68A41A}" type="presOf" srcId="{C56FD3A5-4972-4D08-957B-03FEB7D15C64}" destId="{BF064E90-DA4F-475F-82AC-32B358B01B5C}" srcOrd="1" destOrd="0" presId="urn:microsoft.com/office/officeart/2005/8/layout/orgChart1"/>
    <dgm:cxn modelId="{44AD769B-88E9-4FCD-97A3-B0BE43FACA24}" srcId="{378CF3D7-1480-42C5-A86E-325DAC838B0B}" destId="{B6D77C4F-8A4A-431F-B6C2-CBFA96C6D401}" srcOrd="1" destOrd="0" parTransId="{F89806EB-CF99-4D22-B179-4891D0B21D89}" sibTransId="{9DF604C3-2DB5-4ABF-8D07-502C1878EB53}"/>
    <dgm:cxn modelId="{C466E60D-E902-4EBF-9091-2FAABE6CA4C2}" type="presOf" srcId="{025E9F70-1B2B-4501-9497-17E2A32B8C27}" destId="{6ED43F32-90FF-4FC7-927D-6E0343051069}" srcOrd="0" destOrd="0" presId="urn:microsoft.com/office/officeart/2005/8/layout/orgChart1"/>
    <dgm:cxn modelId="{1BF98F8D-3004-4101-9B71-5AB2B6526C45}" type="presParOf" srcId="{DAEE2B8D-CDDF-433F-9014-3CC96FE17C73}" destId="{73E21693-11CE-4715-A921-861F828FCEBB}" srcOrd="0" destOrd="0" presId="urn:microsoft.com/office/officeart/2005/8/layout/orgChart1"/>
    <dgm:cxn modelId="{7E28B7FD-CB18-4AA9-8E10-AF2566E54360}" type="presParOf" srcId="{73E21693-11CE-4715-A921-861F828FCEBB}" destId="{63B24786-C4ED-4F99-B0B9-12B1D95F2C4D}" srcOrd="0" destOrd="0" presId="urn:microsoft.com/office/officeart/2005/8/layout/orgChart1"/>
    <dgm:cxn modelId="{0D720D0D-46B3-492D-8063-51DF343E82F6}" type="presParOf" srcId="{63B24786-C4ED-4F99-B0B9-12B1D95F2C4D}" destId="{B9366E58-9117-4B9C-B778-0E7360BF0F23}" srcOrd="0" destOrd="0" presId="urn:microsoft.com/office/officeart/2005/8/layout/orgChart1"/>
    <dgm:cxn modelId="{B3982556-668D-4248-904A-9C8112A17269}" type="presParOf" srcId="{63B24786-C4ED-4F99-B0B9-12B1D95F2C4D}" destId="{CD5E320F-D863-49AD-8342-F91BA26F0063}" srcOrd="1" destOrd="0" presId="urn:microsoft.com/office/officeart/2005/8/layout/orgChart1"/>
    <dgm:cxn modelId="{8C08ED77-734D-491E-BE83-B70997E82179}" type="presParOf" srcId="{73E21693-11CE-4715-A921-861F828FCEBB}" destId="{173F9ADE-3381-41BA-8D90-B9DD0BBEE50D}" srcOrd="1" destOrd="0" presId="urn:microsoft.com/office/officeart/2005/8/layout/orgChart1"/>
    <dgm:cxn modelId="{7888ACE0-0D3C-49FD-B219-E15EAC1750A0}" type="presParOf" srcId="{173F9ADE-3381-41BA-8D90-B9DD0BBEE50D}" destId="{D7127933-1B61-4E75-8A6A-A707D302D783}" srcOrd="0" destOrd="0" presId="urn:microsoft.com/office/officeart/2005/8/layout/orgChart1"/>
    <dgm:cxn modelId="{C70C00D6-7A55-4728-8B9B-ADCD5A3716DE}" type="presParOf" srcId="{173F9ADE-3381-41BA-8D90-B9DD0BBEE50D}" destId="{CEC8867B-8426-48CE-BCDD-6D4C49729EB4}" srcOrd="1" destOrd="0" presId="urn:microsoft.com/office/officeart/2005/8/layout/orgChart1"/>
    <dgm:cxn modelId="{7FB75E81-C26C-4C94-9EF8-F9A9C770FBD6}" type="presParOf" srcId="{CEC8867B-8426-48CE-BCDD-6D4C49729EB4}" destId="{67A46B2E-C55D-4456-BD92-7BC4970805DC}" srcOrd="0" destOrd="0" presId="urn:microsoft.com/office/officeart/2005/8/layout/orgChart1"/>
    <dgm:cxn modelId="{FD92BC22-9C36-423A-9B00-0735348E568E}" type="presParOf" srcId="{67A46B2E-C55D-4456-BD92-7BC4970805DC}" destId="{B3660C43-1E63-4365-B4EA-A3E64D49A6EC}" srcOrd="0" destOrd="0" presId="urn:microsoft.com/office/officeart/2005/8/layout/orgChart1"/>
    <dgm:cxn modelId="{8DFC2485-F089-4EEE-86F7-92638931BFC1}" type="presParOf" srcId="{67A46B2E-C55D-4456-BD92-7BC4970805DC}" destId="{14ADA3EB-527D-4943-AA0B-2301881907E5}" srcOrd="1" destOrd="0" presId="urn:microsoft.com/office/officeart/2005/8/layout/orgChart1"/>
    <dgm:cxn modelId="{DC892ED0-AAC3-48EB-8E9F-A12CC939114C}" type="presParOf" srcId="{CEC8867B-8426-48CE-BCDD-6D4C49729EB4}" destId="{B784BE16-B115-434F-9285-7CE67AD1AECF}" srcOrd="1" destOrd="0" presId="urn:microsoft.com/office/officeart/2005/8/layout/orgChart1"/>
    <dgm:cxn modelId="{8933E50D-1ADA-4BA3-A8F9-0C2B161B4998}" type="presParOf" srcId="{B784BE16-B115-434F-9285-7CE67AD1AECF}" destId="{31C9C071-24A8-4827-8B33-3398A8C731BA}" srcOrd="0" destOrd="0" presId="urn:microsoft.com/office/officeart/2005/8/layout/orgChart1"/>
    <dgm:cxn modelId="{0AC9D04F-EA51-4302-8E38-ADD31E66A91C}" type="presParOf" srcId="{B784BE16-B115-434F-9285-7CE67AD1AECF}" destId="{FF9BD483-7977-42BB-BC08-6F2AAB149F34}" srcOrd="1" destOrd="0" presId="urn:microsoft.com/office/officeart/2005/8/layout/orgChart1"/>
    <dgm:cxn modelId="{EF06C269-A002-4B6D-BC94-3F6D4EE8943D}" type="presParOf" srcId="{FF9BD483-7977-42BB-BC08-6F2AAB149F34}" destId="{D6CEC8E7-43A5-4D31-A59F-D6D4D2533A16}" srcOrd="0" destOrd="0" presId="urn:microsoft.com/office/officeart/2005/8/layout/orgChart1"/>
    <dgm:cxn modelId="{38BF8B6C-E8E1-4DA0-BFAA-BC13E57287D0}" type="presParOf" srcId="{D6CEC8E7-43A5-4D31-A59F-D6D4D2533A16}" destId="{8B4290D6-9B95-43B7-9A11-6B51DAB394F3}" srcOrd="0" destOrd="0" presId="urn:microsoft.com/office/officeart/2005/8/layout/orgChart1"/>
    <dgm:cxn modelId="{0A004733-1E29-4C1B-9985-E27B86C282D7}" type="presParOf" srcId="{D6CEC8E7-43A5-4D31-A59F-D6D4D2533A16}" destId="{FD59D0EC-3A15-4C06-A6A1-008675C305D7}" srcOrd="1" destOrd="0" presId="urn:microsoft.com/office/officeart/2005/8/layout/orgChart1"/>
    <dgm:cxn modelId="{AD46DC57-3A52-4710-A698-D3E9F473D7F7}" type="presParOf" srcId="{FF9BD483-7977-42BB-BC08-6F2AAB149F34}" destId="{ADFB9316-8249-48B1-9320-222A521F206D}" srcOrd="1" destOrd="0" presId="urn:microsoft.com/office/officeart/2005/8/layout/orgChart1"/>
    <dgm:cxn modelId="{4DF9DE43-A452-404A-ABC2-882C7BD4FF12}" type="presParOf" srcId="{FF9BD483-7977-42BB-BC08-6F2AAB149F34}" destId="{BB8F0AC5-D69A-45AA-9A52-A968B073D931}" srcOrd="2" destOrd="0" presId="urn:microsoft.com/office/officeart/2005/8/layout/orgChart1"/>
    <dgm:cxn modelId="{A505E6D8-64CB-4037-8CC6-4F26CFFA4D17}" type="presParOf" srcId="{B784BE16-B115-434F-9285-7CE67AD1AECF}" destId="{400F91B0-A13F-4314-A0F3-5E596104580D}" srcOrd="2" destOrd="0" presId="urn:microsoft.com/office/officeart/2005/8/layout/orgChart1"/>
    <dgm:cxn modelId="{860319B4-6B02-4BBD-979B-287790DD8258}" type="presParOf" srcId="{B784BE16-B115-434F-9285-7CE67AD1AECF}" destId="{A96F02AC-0332-4A30-8B3C-7A205561CE8D}" srcOrd="3" destOrd="0" presId="urn:microsoft.com/office/officeart/2005/8/layout/orgChart1"/>
    <dgm:cxn modelId="{024EA462-7667-41A3-AEFB-E3B3399FF6DA}" type="presParOf" srcId="{A96F02AC-0332-4A30-8B3C-7A205561CE8D}" destId="{5213E7E3-5888-4309-8060-E63245BA28DA}" srcOrd="0" destOrd="0" presId="urn:microsoft.com/office/officeart/2005/8/layout/orgChart1"/>
    <dgm:cxn modelId="{9DE0D6C4-1CB1-477E-A8FB-9C2EA4C0FAC2}" type="presParOf" srcId="{5213E7E3-5888-4309-8060-E63245BA28DA}" destId="{34D5728F-09C0-4B14-AC05-9BBCBABFF3D5}" srcOrd="0" destOrd="0" presId="urn:microsoft.com/office/officeart/2005/8/layout/orgChart1"/>
    <dgm:cxn modelId="{C26F376F-1E0B-47E3-8171-13159D964448}" type="presParOf" srcId="{5213E7E3-5888-4309-8060-E63245BA28DA}" destId="{5A9F3912-21A9-4F86-8BB6-BC92D0C517F0}" srcOrd="1" destOrd="0" presId="urn:microsoft.com/office/officeart/2005/8/layout/orgChart1"/>
    <dgm:cxn modelId="{544A586A-668B-4080-92DC-5A5873C34E2A}" type="presParOf" srcId="{A96F02AC-0332-4A30-8B3C-7A205561CE8D}" destId="{B273993F-2969-4ECA-B384-B93E997DF545}" srcOrd="1" destOrd="0" presId="urn:microsoft.com/office/officeart/2005/8/layout/orgChart1"/>
    <dgm:cxn modelId="{24F1DB04-F8E4-4896-9599-533A13E2E083}" type="presParOf" srcId="{A96F02AC-0332-4A30-8B3C-7A205561CE8D}" destId="{331B99C5-A71D-40D7-A9CC-F7A3183EA910}" srcOrd="2" destOrd="0" presId="urn:microsoft.com/office/officeart/2005/8/layout/orgChart1"/>
    <dgm:cxn modelId="{651BF566-7136-4A57-B47B-F3B2267817C0}" type="presParOf" srcId="{B784BE16-B115-434F-9285-7CE67AD1AECF}" destId="{094683F6-4A25-445E-8475-094BC485739B}" srcOrd="4" destOrd="0" presId="urn:microsoft.com/office/officeart/2005/8/layout/orgChart1"/>
    <dgm:cxn modelId="{4D21CD96-9648-4B21-AE12-4C32B33DEE7F}" type="presParOf" srcId="{B784BE16-B115-434F-9285-7CE67AD1AECF}" destId="{F615DD96-85EB-4603-84B5-2050B47B4174}" srcOrd="5" destOrd="0" presId="urn:microsoft.com/office/officeart/2005/8/layout/orgChart1"/>
    <dgm:cxn modelId="{9429F77B-1508-45DD-BE18-48B744CF44BE}" type="presParOf" srcId="{F615DD96-85EB-4603-84B5-2050B47B4174}" destId="{4FDDC451-E1F9-4559-8235-98A649B0AAFB}" srcOrd="0" destOrd="0" presId="urn:microsoft.com/office/officeart/2005/8/layout/orgChart1"/>
    <dgm:cxn modelId="{E5FF3549-2EFE-4771-9303-EC87A80DCEFB}" type="presParOf" srcId="{4FDDC451-E1F9-4559-8235-98A649B0AAFB}" destId="{F78CA9D4-706A-44B3-AD8F-1AC89C5A27DB}" srcOrd="0" destOrd="0" presId="urn:microsoft.com/office/officeart/2005/8/layout/orgChart1"/>
    <dgm:cxn modelId="{15AC698C-F005-413E-A58E-1782D07279B4}" type="presParOf" srcId="{4FDDC451-E1F9-4559-8235-98A649B0AAFB}" destId="{BF064E90-DA4F-475F-82AC-32B358B01B5C}" srcOrd="1" destOrd="0" presId="urn:microsoft.com/office/officeart/2005/8/layout/orgChart1"/>
    <dgm:cxn modelId="{CDE3EC34-822E-4A1D-B426-94DBE05C34F6}" type="presParOf" srcId="{F615DD96-85EB-4603-84B5-2050B47B4174}" destId="{C016CB05-CDA4-4ED7-8A3B-C516CEDDAB41}" srcOrd="1" destOrd="0" presId="urn:microsoft.com/office/officeart/2005/8/layout/orgChart1"/>
    <dgm:cxn modelId="{8BF4E4B2-424C-46CB-AC64-2B84297DDB1F}" type="presParOf" srcId="{F615DD96-85EB-4603-84B5-2050B47B4174}" destId="{09973FD7-6C25-46F2-8915-EEE5575388E3}" srcOrd="2" destOrd="0" presId="urn:microsoft.com/office/officeart/2005/8/layout/orgChart1"/>
    <dgm:cxn modelId="{1C71CD67-03CE-4BA0-8568-D5362A87C237}" type="presParOf" srcId="{B784BE16-B115-434F-9285-7CE67AD1AECF}" destId="{16835613-AEC6-467C-9E0E-35961AB3FCDC}" srcOrd="6" destOrd="0" presId="urn:microsoft.com/office/officeart/2005/8/layout/orgChart1"/>
    <dgm:cxn modelId="{7F3ABEAA-4E5B-4D2E-A7F8-C3E44B750AD8}" type="presParOf" srcId="{B784BE16-B115-434F-9285-7CE67AD1AECF}" destId="{291E5748-E7E0-4C55-BD9B-FDA74D37EBC7}" srcOrd="7" destOrd="0" presId="urn:microsoft.com/office/officeart/2005/8/layout/orgChart1"/>
    <dgm:cxn modelId="{63D68D0B-3ED3-4857-9883-809E51CCA209}" type="presParOf" srcId="{291E5748-E7E0-4C55-BD9B-FDA74D37EBC7}" destId="{3778C450-1F81-4840-A070-5351157C8AC5}" srcOrd="0" destOrd="0" presId="urn:microsoft.com/office/officeart/2005/8/layout/orgChart1"/>
    <dgm:cxn modelId="{D6A6FC9F-5529-4006-88B2-3FD3A3E35446}" type="presParOf" srcId="{3778C450-1F81-4840-A070-5351157C8AC5}" destId="{50F39823-70CA-4040-B7FD-8BF523D3755F}" srcOrd="0" destOrd="0" presId="urn:microsoft.com/office/officeart/2005/8/layout/orgChart1"/>
    <dgm:cxn modelId="{CD8DE691-C05D-46CE-902C-30DBD1DA0466}" type="presParOf" srcId="{3778C450-1F81-4840-A070-5351157C8AC5}" destId="{88595906-6856-4DFF-B252-0C0BFC06DC6F}" srcOrd="1" destOrd="0" presId="urn:microsoft.com/office/officeart/2005/8/layout/orgChart1"/>
    <dgm:cxn modelId="{17664B34-3583-4EA4-A946-C77606052DB1}" type="presParOf" srcId="{291E5748-E7E0-4C55-BD9B-FDA74D37EBC7}" destId="{E2B5C924-D1D4-4A18-9382-A224E30602EA}" srcOrd="1" destOrd="0" presId="urn:microsoft.com/office/officeart/2005/8/layout/orgChart1"/>
    <dgm:cxn modelId="{9D11DCB7-98C9-4011-9E09-22A378435403}" type="presParOf" srcId="{291E5748-E7E0-4C55-BD9B-FDA74D37EBC7}" destId="{A049F191-E9E2-4B20-BB42-293D4DBCFD5C}" srcOrd="2" destOrd="0" presId="urn:microsoft.com/office/officeart/2005/8/layout/orgChart1"/>
    <dgm:cxn modelId="{ED7A056D-0EDB-4A1B-AAC6-098CDA7C3BFB}" type="presParOf" srcId="{CEC8867B-8426-48CE-BCDD-6D4C49729EB4}" destId="{1EEB610B-3F61-4BF9-B9E8-B347D7BD195C}" srcOrd="2" destOrd="0" presId="urn:microsoft.com/office/officeart/2005/8/layout/orgChart1"/>
    <dgm:cxn modelId="{8E8EE346-3B04-4B26-9BD2-0CE311293456}" type="presParOf" srcId="{173F9ADE-3381-41BA-8D90-B9DD0BBEE50D}" destId="{9A96FD0E-FE29-4951-8F1E-C8DBD9028AE2}" srcOrd="2" destOrd="0" presId="urn:microsoft.com/office/officeart/2005/8/layout/orgChart1"/>
    <dgm:cxn modelId="{940587D2-4099-4CF3-8A53-C2FA1DE75F15}" type="presParOf" srcId="{173F9ADE-3381-41BA-8D90-B9DD0BBEE50D}" destId="{DE88D025-E582-4C93-9BC9-6D9DE26CD783}" srcOrd="3" destOrd="0" presId="urn:microsoft.com/office/officeart/2005/8/layout/orgChart1"/>
    <dgm:cxn modelId="{7083EE3F-481F-4160-B5C5-1E2062FFB031}" type="presParOf" srcId="{DE88D025-E582-4C93-9BC9-6D9DE26CD783}" destId="{3A82E6ED-927C-47F8-993E-921C4774FFBD}" srcOrd="0" destOrd="0" presId="urn:microsoft.com/office/officeart/2005/8/layout/orgChart1"/>
    <dgm:cxn modelId="{C16401C2-A619-4D70-86B5-F57193173EF0}" type="presParOf" srcId="{3A82E6ED-927C-47F8-993E-921C4774FFBD}" destId="{126F5AB8-B384-48FC-BACB-917446FD0B05}" srcOrd="0" destOrd="0" presId="urn:microsoft.com/office/officeart/2005/8/layout/orgChart1"/>
    <dgm:cxn modelId="{115D541C-B1DC-45B2-9A75-B3CA0A457B85}" type="presParOf" srcId="{3A82E6ED-927C-47F8-993E-921C4774FFBD}" destId="{BB7FEBF2-0E21-40AA-A090-5299570316B0}" srcOrd="1" destOrd="0" presId="urn:microsoft.com/office/officeart/2005/8/layout/orgChart1"/>
    <dgm:cxn modelId="{1E159708-61EE-4E40-836E-3A72249C558C}" type="presParOf" srcId="{DE88D025-E582-4C93-9BC9-6D9DE26CD783}" destId="{7FD6F0B7-DDF1-4670-A4CF-AD0F266CD4AD}" srcOrd="1" destOrd="0" presId="urn:microsoft.com/office/officeart/2005/8/layout/orgChart1"/>
    <dgm:cxn modelId="{3B029A3E-E9B2-4087-833F-6163AE0B35A0}" type="presParOf" srcId="{7FD6F0B7-DDF1-4670-A4CF-AD0F266CD4AD}" destId="{04E0F1E0-111D-4E88-8F5B-61DCFDF12B54}" srcOrd="0" destOrd="0" presId="urn:microsoft.com/office/officeart/2005/8/layout/orgChart1"/>
    <dgm:cxn modelId="{7090EE7E-27A8-42EC-A1A7-762CA3F38FC2}" type="presParOf" srcId="{7FD6F0B7-DDF1-4670-A4CF-AD0F266CD4AD}" destId="{F8ACBFB1-57E3-4F81-AF91-01A18DFEBB7D}" srcOrd="1" destOrd="0" presId="urn:microsoft.com/office/officeart/2005/8/layout/orgChart1"/>
    <dgm:cxn modelId="{B6C5BB95-40C9-49BC-A829-469C4B573FE1}" type="presParOf" srcId="{F8ACBFB1-57E3-4F81-AF91-01A18DFEBB7D}" destId="{8BC6B3D5-7AEF-4FE7-9737-CACFFBB2EAC4}" srcOrd="0" destOrd="0" presId="urn:microsoft.com/office/officeart/2005/8/layout/orgChart1"/>
    <dgm:cxn modelId="{296A04C8-D70A-41B4-B4A4-AB45BA8394F3}" type="presParOf" srcId="{8BC6B3D5-7AEF-4FE7-9737-CACFFBB2EAC4}" destId="{8674073C-C6D7-448A-B063-DF2C9F184737}" srcOrd="0" destOrd="0" presId="urn:microsoft.com/office/officeart/2005/8/layout/orgChart1"/>
    <dgm:cxn modelId="{700E5F78-ECD2-4D02-8CBD-B3BBB341E12D}" type="presParOf" srcId="{8BC6B3D5-7AEF-4FE7-9737-CACFFBB2EAC4}" destId="{F8B4B363-0F5B-461C-A893-D7AD35736AD7}" srcOrd="1" destOrd="0" presId="urn:microsoft.com/office/officeart/2005/8/layout/orgChart1"/>
    <dgm:cxn modelId="{379CEAD0-BE0F-43E5-BEE8-B0380D5F73DD}" type="presParOf" srcId="{F8ACBFB1-57E3-4F81-AF91-01A18DFEBB7D}" destId="{B6D6B3CF-A56F-4672-8694-A656C6D37F58}" srcOrd="1" destOrd="0" presId="urn:microsoft.com/office/officeart/2005/8/layout/orgChart1"/>
    <dgm:cxn modelId="{79AF21C7-BE82-4838-89D5-DDE5481BEEA9}" type="presParOf" srcId="{F8ACBFB1-57E3-4F81-AF91-01A18DFEBB7D}" destId="{CBF2FD9C-1BD5-45B2-8537-036A9F80AACE}" srcOrd="2" destOrd="0" presId="urn:microsoft.com/office/officeart/2005/8/layout/orgChart1"/>
    <dgm:cxn modelId="{3928096F-6F74-48F5-A44C-C94BDF4F2D7E}" type="presParOf" srcId="{7FD6F0B7-DDF1-4670-A4CF-AD0F266CD4AD}" destId="{7424BA79-C4E6-4472-89AD-52C5E82983A1}" srcOrd="2" destOrd="0" presId="urn:microsoft.com/office/officeart/2005/8/layout/orgChart1"/>
    <dgm:cxn modelId="{BCA420BA-ECEF-4894-9C78-D747D4DB896E}" type="presParOf" srcId="{7FD6F0B7-DDF1-4670-A4CF-AD0F266CD4AD}" destId="{4E2BC7B6-7813-46FE-B0A8-7AA8BE141090}" srcOrd="3" destOrd="0" presId="urn:microsoft.com/office/officeart/2005/8/layout/orgChart1"/>
    <dgm:cxn modelId="{FBFABE79-4216-428E-A651-A7F743FB3D76}" type="presParOf" srcId="{4E2BC7B6-7813-46FE-B0A8-7AA8BE141090}" destId="{7D5E7642-FE2B-4020-8CDB-2A10CB688637}" srcOrd="0" destOrd="0" presId="urn:microsoft.com/office/officeart/2005/8/layout/orgChart1"/>
    <dgm:cxn modelId="{8F21B4BA-D768-462E-898B-FEF2F2F65CE5}" type="presParOf" srcId="{7D5E7642-FE2B-4020-8CDB-2A10CB688637}" destId="{1D0CE523-1BF0-41F3-B846-98E4C203C4D4}" srcOrd="0" destOrd="0" presId="urn:microsoft.com/office/officeart/2005/8/layout/orgChart1"/>
    <dgm:cxn modelId="{B045AA37-FB46-4403-B65E-EBBF02822BB2}" type="presParOf" srcId="{7D5E7642-FE2B-4020-8CDB-2A10CB688637}" destId="{4222A776-6040-45D7-92F0-EA0B6E94C552}" srcOrd="1" destOrd="0" presId="urn:microsoft.com/office/officeart/2005/8/layout/orgChart1"/>
    <dgm:cxn modelId="{2D8F0CBD-328D-4735-9AC3-BD9CD4B045DC}" type="presParOf" srcId="{4E2BC7B6-7813-46FE-B0A8-7AA8BE141090}" destId="{CD890A30-EEE6-4F00-ABA3-677F2113D1EC}" srcOrd="1" destOrd="0" presId="urn:microsoft.com/office/officeart/2005/8/layout/orgChart1"/>
    <dgm:cxn modelId="{9C438CD2-4B03-4283-BE70-612C775D7ACD}" type="presParOf" srcId="{CD890A30-EEE6-4F00-ABA3-677F2113D1EC}" destId="{DF306F51-C4BF-417A-A29A-6C8A69EFB12D}" srcOrd="0" destOrd="0" presId="urn:microsoft.com/office/officeart/2005/8/layout/orgChart1"/>
    <dgm:cxn modelId="{A62E9F3C-1E77-4D96-8358-4BA852F52F44}" type="presParOf" srcId="{CD890A30-EEE6-4F00-ABA3-677F2113D1EC}" destId="{AE93540C-F6CA-4999-A5F0-29DE0A7227DC}" srcOrd="1" destOrd="0" presId="urn:microsoft.com/office/officeart/2005/8/layout/orgChart1"/>
    <dgm:cxn modelId="{28854283-724A-440F-BC8E-F77C883AA154}" type="presParOf" srcId="{AE93540C-F6CA-4999-A5F0-29DE0A7227DC}" destId="{932DC12C-1E05-4BEE-8D54-11F36A420CB4}" srcOrd="0" destOrd="0" presId="urn:microsoft.com/office/officeart/2005/8/layout/orgChart1"/>
    <dgm:cxn modelId="{A8F6177D-4E27-4E5F-B73D-D70333E33293}" type="presParOf" srcId="{932DC12C-1E05-4BEE-8D54-11F36A420CB4}" destId="{3D8CF0B5-EEEA-4C63-A0E6-9D523AD693A1}" srcOrd="0" destOrd="0" presId="urn:microsoft.com/office/officeart/2005/8/layout/orgChart1"/>
    <dgm:cxn modelId="{4040E391-344B-43D6-BE77-739447517C2E}" type="presParOf" srcId="{932DC12C-1E05-4BEE-8D54-11F36A420CB4}" destId="{EAA9251C-EB5B-455B-93A9-2FD80F21D5E2}" srcOrd="1" destOrd="0" presId="urn:microsoft.com/office/officeart/2005/8/layout/orgChart1"/>
    <dgm:cxn modelId="{4929A456-0073-4D90-9CD4-1496E55F1D06}" type="presParOf" srcId="{AE93540C-F6CA-4999-A5F0-29DE0A7227DC}" destId="{0BA96A6E-1589-4794-8DBB-882E6DCC5CF2}" srcOrd="1" destOrd="0" presId="urn:microsoft.com/office/officeart/2005/8/layout/orgChart1"/>
    <dgm:cxn modelId="{790D5E8F-DC62-4B48-A7B1-0E55C61FF53B}" type="presParOf" srcId="{AE93540C-F6CA-4999-A5F0-29DE0A7227DC}" destId="{679DF6E9-4A30-4A7E-B954-31390DC454FD}" srcOrd="2" destOrd="0" presId="urn:microsoft.com/office/officeart/2005/8/layout/orgChart1"/>
    <dgm:cxn modelId="{8BABFD63-221E-483D-945F-573A1B08F5FB}" type="presParOf" srcId="{CD890A30-EEE6-4F00-ABA3-677F2113D1EC}" destId="{29548FEE-711C-4245-9E1A-82B2426E9B35}" srcOrd="2" destOrd="0" presId="urn:microsoft.com/office/officeart/2005/8/layout/orgChart1"/>
    <dgm:cxn modelId="{D44A1CD5-8C89-4AD5-817C-24B5D5A9DF19}" type="presParOf" srcId="{CD890A30-EEE6-4F00-ABA3-677F2113D1EC}" destId="{397D9398-BF29-4596-B633-CDF0A33206FD}" srcOrd="3" destOrd="0" presId="urn:microsoft.com/office/officeart/2005/8/layout/orgChart1"/>
    <dgm:cxn modelId="{2454A756-E2B9-45B1-B99D-8E209605181F}" type="presParOf" srcId="{397D9398-BF29-4596-B633-CDF0A33206FD}" destId="{E9E31E49-3055-4268-8A66-8F76AC06742A}" srcOrd="0" destOrd="0" presId="urn:microsoft.com/office/officeart/2005/8/layout/orgChart1"/>
    <dgm:cxn modelId="{1AD3C1FE-75B2-4730-808E-83E02F1C9D08}" type="presParOf" srcId="{E9E31E49-3055-4268-8A66-8F76AC06742A}" destId="{52A9E198-4443-4933-8EB1-AE44E0A7DA4B}" srcOrd="0" destOrd="0" presId="urn:microsoft.com/office/officeart/2005/8/layout/orgChart1"/>
    <dgm:cxn modelId="{F7AD0E89-1CF9-465D-A320-8B71201CCC43}" type="presParOf" srcId="{E9E31E49-3055-4268-8A66-8F76AC06742A}" destId="{FC6D018E-2C71-48B9-848B-4F37FE6786B0}" srcOrd="1" destOrd="0" presId="urn:microsoft.com/office/officeart/2005/8/layout/orgChart1"/>
    <dgm:cxn modelId="{D54FE364-03E0-412E-8968-3854E3D92EE6}" type="presParOf" srcId="{397D9398-BF29-4596-B633-CDF0A33206FD}" destId="{BCF008CC-DFA1-4ACB-92E7-9F01E61F2EE1}" srcOrd="1" destOrd="0" presId="urn:microsoft.com/office/officeart/2005/8/layout/orgChart1"/>
    <dgm:cxn modelId="{AD72FFA7-B10A-4C3C-B26C-7AD40256F390}" type="presParOf" srcId="{397D9398-BF29-4596-B633-CDF0A33206FD}" destId="{6A3492FD-6BBB-422E-B0CC-B1827902E0DC}" srcOrd="2" destOrd="0" presId="urn:microsoft.com/office/officeart/2005/8/layout/orgChart1"/>
    <dgm:cxn modelId="{B4E0358F-B489-40E8-9FC0-C09EF31F6E8D}" type="presParOf" srcId="{CD890A30-EEE6-4F00-ABA3-677F2113D1EC}" destId="{1FA8F71E-A93A-4882-8CF5-D20809E91474}" srcOrd="4" destOrd="0" presId="urn:microsoft.com/office/officeart/2005/8/layout/orgChart1"/>
    <dgm:cxn modelId="{08E6D838-7C5A-4601-A0F2-305F2716F136}" type="presParOf" srcId="{CD890A30-EEE6-4F00-ABA3-677F2113D1EC}" destId="{4D71537A-2B96-469F-981B-DAADF3E55921}" srcOrd="5" destOrd="0" presId="urn:microsoft.com/office/officeart/2005/8/layout/orgChart1"/>
    <dgm:cxn modelId="{278A7A92-EBD5-49DF-BA7C-D9CA55B3C496}" type="presParOf" srcId="{4D71537A-2B96-469F-981B-DAADF3E55921}" destId="{F481B4B0-5103-488C-BA6A-A7C310A36AB4}" srcOrd="0" destOrd="0" presId="urn:microsoft.com/office/officeart/2005/8/layout/orgChart1"/>
    <dgm:cxn modelId="{ED8280E4-3648-4042-B4B3-E6262C70669B}" type="presParOf" srcId="{F481B4B0-5103-488C-BA6A-A7C310A36AB4}" destId="{7C90035B-E015-438D-BBBA-816985B75791}" srcOrd="0" destOrd="0" presId="urn:microsoft.com/office/officeart/2005/8/layout/orgChart1"/>
    <dgm:cxn modelId="{9F1FE87A-E18C-4949-83DF-6D4A2E2976D0}" type="presParOf" srcId="{F481B4B0-5103-488C-BA6A-A7C310A36AB4}" destId="{B6F19852-C929-44BC-A102-5BBCA5F0D064}" srcOrd="1" destOrd="0" presId="urn:microsoft.com/office/officeart/2005/8/layout/orgChart1"/>
    <dgm:cxn modelId="{774D3F36-9661-4B43-AB7A-908150CDD724}" type="presParOf" srcId="{4D71537A-2B96-469F-981B-DAADF3E55921}" destId="{93AFD5BD-219A-412B-B569-12CE5194EEC1}" srcOrd="1" destOrd="0" presId="urn:microsoft.com/office/officeart/2005/8/layout/orgChart1"/>
    <dgm:cxn modelId="{129496E6-403D-4A06-8F1F-B392567FD1EF}" type="presParOf" srcId="{4D71537A-2B96-469F-981B-DAADF3E55921}" destId="{6CEC6CAC-DDFD-4A3F-87E5-E94691D6F451}" srcOrd="2" destOrd="0" presId="urn:microsoft.com/office/officeart/2005/8/layout/orgChart1"/>
    <dgm:cxn modelId="{7B30632A-AA18-4EAB-A7D3-FB3A6D2F72B1}" type="presParOf" srcId="{CD890A30-EEE6-4F00-ABA3-677F2113D1EC}" destId="{6ED43F32-90FF-4FC7-927D-6E0343051069}" srcOrd="6" destOrd="0" presId="urn:microsoft.com/office/officeart/2005/8/layout/orgChart1"/>
    <dgm:cxn modelId="{E4239645-D733-44D2-A047-31C988ED7CDA}" type="presParOf" srcId="{CD890A30-EEE6-4F00-ABA3-677F2113D1EC}" destId="{BDC533E0-A33A-4A81-BFBD-BD66122A533F}" srcOrd="7" destOrd="0" presId="urn:microsoft.com/office/officeart/2005/8/layout/orgChart1"/>
    <dgm:cxn modelId="{970D42C1-6B48-451B-8430-665512002CDB}" type="presParOf" srcId="{BDC533E0-A33A-4A81-BFBD-BD66122A533F}" destId="{FC5889A8-D79B-4551-9605-561437EBA13B}" srcOrd="0" destOrd="0" presId="urn:microsoft.com/office/officeart/2005/8/layout/orgChart1"/>
    <dgm:cxn modelId="{943093FA-232F-4488-9012-B75B2F403513}" type="presParOf" srcId="{FC5889A8-D79B-4551-9605-561437EBA13B}" destId="{D34643E6-13F7-4D4E-9D5A-996AC4E37620}" srcOrd="0" destOrd="0" presId="urn:microsoft.com/office/officeart/2005/8/layout/orgChart1"/>
    <dgm:cxn modelId="{003F5E49-55AC-4ED5-AB09-DCF1434503DA}" type="presParOf" srcId="{FC5889A8-D79B-4551-9605-561437EBA13B}" destId="{EE6D3784-4713-4ED8-9E5E-35C21A18D1CB}" srcOrd="1" destOrd="0" presId="urn:microsoft.com/office/officeart/2005/8/layout/orgChart1"/>
    <dgm:cxn modelId="{37B840D0-C3F0-42D4-A92C-244FC26ED09A}" type="presParOf" srcId="{BDC533E0-A33A-4A81-BFBD-BD66122A533F}" destId="{000488B5-54C9-44B6-A0B0-6435CB289B07}" srcOrd="1" destOrd="0" presId="urn:microsoft.com/office/officeart/2005/8/layout/orgChart1"/>
    <dgm:cxn modelId="{64E93A41-F222-4F1C-A1FB-3F00D857DD97}" type="presParOf" srcId="{BDC533E0-A33A-4A81-BFBD-BD66122A533F}" destId="{8F8DDCA9-2749-433E-9DDB-63712232EA4B}" srcOrd="2" destOrd="0" presId="urn:microsoft.com/office/officeart/2005/8/layout/orgChart1"/>
    <dgm:cxn modelId="{9C2F17D7-B0A4-4EB7-B06A-949474A66ADB}" type="presParOf" srcId="{CD890A30-EEE6-4F00-ABA3-677F2113D1EC}" destId="{8EBE525B-B233-4675-B40B-7DA7796641D7}" srcOrd="8" destOrd="0" presId="urn:microsoft.com/office/officeart/2005/8/layout/orgChart1"/>
    <dgm:cxn modelId="{AF9AD397-BFC6-469F-9E4E-F0FC7D86E8AA}" type="presParOf" srcId="{CD890A30-EEE6-4F00-ABA3-677F2113D1EC}" destId="{46216CCE-70A2-427D-8819-1138B291D0FE}" srcOrd="9" destOrd="0" presId="urn:microsoft.com/office/officeart/2005/8/layout/orgChart1"/>
    <dgm:cxn modelId="{0D4C5839-474F-4A24-95F4-287A6E50D2E2}" type="presParOf" srcId="{46216CCE-70A2-427D-8819-1138B291D0FE}" destId="{17F75208-CFC3-4A15-9654-A7665821B220}" srcOrd="0" destOrd="0" presId="urn:microsoft.com/office/officeart/2005/8/layout/orgChart1"/>
    <dgm:cxn modelId="{529C4BA4-2CC2-4F30-83FC-D50728974B41}" type="presParOf" srcId="{17F75208-CFC3-4A15-9654-A7665821B220}" destId="{0107A703-235B-40E9-97C0-3664F4CFD3B0}" srcOrd="0" destOrd="0" presId="urn:microsoft.com/office/officeart/2005/8/layout/orgChart1"/>
    <dgm:cxn modelId="{555D3657-8B94-44FA-B8E5-44A095F4EE30}" type="presParOf" srcId="{17F75208-CFC3-4A15-9654-A7665821B220}" destId="{92E3AE2C-AF73-46F5-9EB2-4B1566B73E21}" srcOrd="1" destOrd="0" presId="urn:microsoft.com/office/officeart/2005/8/layout/orgChart1"/>
    <dgm:cxn modelId="{EC92D0FE-F24B-4107-82A5-7F3FD0758E71}" type="presParOf" srcId="{46216CCE-70A2-427D-8819-1138B291D0FE}" destId="{77D59739-0038-4ED9-8A0D-D196B7C418FF}" srcOrd="1" destOrd="0" presId="urn:microsoft.com/office/officeart/2005/8/layout/orgChart1"/>
    <dgm:cxn modelId="{5078922B-C08B-4570-B102-018F095167DF}" type="presParOf" srcId="{46216CCE-70A2-427D-8819-1138B291D0FE}" destId="{F21EF9C8-4232-42F2-9792-4CE9557ED4F9}" srcOrd="2" destOrd="0" presId="urn:microsoft.com/office/officeart/2005/8/layout/orgChart1"/>
    <dgm:cxn modelId="{3CEBC394-CC47-4C23-A7C0-BDBD15DD9CBB}" type="presParOf" srcId="{4E2BC7B6-7813-46FE-B0A8-7AA8BE141090}" destId="{EDE9252E-76AC-4277-862C-3B4E8DDB0C62}" srcOrd="2" destOrd="0" presId="urn:microsoft.com/office/officeart/2005/8/layout/orgChart1"/>
    <dgm:cxn modelId="{DDD56806-A234-4DBF-A973-005E64B82E87}" type="presParOf" srcId="{DE88D025-E582-4C93-9BC9-6D9DE26CD783}" destId="{6BB001D7-38D8-4FEC-A45E-3A07D9F50158}" srcOrd="2" destOrd="0" presId="urn:microsoft.com/office/officeart/2005/8/layout/orgChart1"/>
    <dgm:cxn modelId="{041B9171-B97F-43B9-AC34-35E0B742434A}" type="presParOf" srcId="{73E21693-11CE-4715-A921-861F828FCEBB}" destId="{C4FF6C48-8173-4E9D-87EB-CAF67D916ED4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57627B7-A9F4-4F09-89DC-3786F28A3531}" type="doc">
      <dgm:prSet loTypeId="urn:microsoft.com/office/officeart/2005/8/layout/process4" loCatId="process" qsTypeId="urn:microsoft.com/office/officeart/2005/8/quickstyle/simple2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F322CE14-82CE-44E9-A550-87FBF6E3B2D1}">
      <dgm:prSet phldrT="[Текст]" custT="1"/>
      <dgm:spPr>
        <a:solidFill>
          <a:schemeClr val="accent2">
            <a:lumMod val="20000"/>
            <a:lumOff val="80000"/>
          </a:schemeClr>
        </a:solidFill>
        <a:ln w="12700">
          <a:solidFill>
            <a:schemeClr val="accent2"/>
          </a:solidFill>
        </a:ln>
      </dgm:spPr>
      <dgm:t>
        <a:bodyPr/>
        <a:lstStyle/>
        <a:p>
          <a:r>
            <a:rPr lang="ru-RU" sz="2000" b="1" dirty="0" smtClean="0">
              <a:solidFill>
                <a:schemeClr val="tx1"/>
              </a:solidFill>
            </a:rPr>
            <a:t>Отсутствует</a:t>
          </a:r>
          <a:r>
            <a:rPr lang="ru-RU" sz="2000" dirty="0" smtClean="0">
              <a:solidFill>
                <a:schemeClr val="tx1"/>
              </a:solidFill>
            </a:rPr>
            <a:t> </a:t>
          </a:r>
          <a:br>
            <a:rPr lang="ru-RU" sz="2000" dirty="0" smtClean="0">
              <a:solidFill>
                <a:schemeClr val="tx1"/>
              </a:solidFill>
            </a:rPr>
          </a:br>
          <a:r>
            <a:rPr lang="ru-RU" sz="2000" dirty="0" smtClean="0">
              <a:solidFill>
                <a:schemeClr val="tx1"/>
              </a:solidFill>
            </a:rPr>
            <a:t>техническая возможность ТП</a:t>
          </a:r>
          <a:endParaRPr lang="ru-RU" sz="2000" dirty="0">
            <a:solidFill>
              <a:schemeClr val="tx1"/>
            </a:solidFill>
          </a:endParaRPr>
        </a:p>
      </dgm:t>
    </dgm:pt>
    <dgm:pt modelId="{24EF378E-AEBB-4E4F-8DBB-CD056772B140}" type="parTrans" cxnId="{2492E51A-29F4-4FC9-A7EA-7B78BA923075}">
      <dgm:prSet/>
      <dgm:spPr/>
      <dgm:t>
        <a:bodyPr/>
        <a:lstStyle/>
        <a:p>
          <a:endParaRPr lang="ru-RU"/>
        </a:p>
      </dgm:t>
    </dgm:pt>
    <dgm:pt modelId="{FBA16A61-8A81-44A8-AFAD-4E17F413B4FD}" type="sibTrans" cxnId="{2492E51A-29F4-4FC9-A7EA-7B78BA923075}">
      <dgm:prSet/>
      <dgm:spPr/>
      <dgm:t>
        <a:bodyPr/>
        <a:lstStyle/>
        <a:p>
          <a:endParaRPr lang="ru-RU"/>
        </a:p>
      </dgm:t>
    </dgm:pt>
    <dgm:pt modelId="{9AB3E0B3-FD78-47E7-84CF-D0F2F949F07A}">
      <dgm:prSet phldrT="[Текст]" custT="1"/>
      <dgm:spPr>
        <a:solidFill>
          <a:schemeClr val="accent2">
            <a:lumMod val="20000"/>
            <a:lumOff val="80000"/>
          </a:schemeClr>
        </a:solidFill>
        <a:ln w="12700">
          <a:solidFill>
            <a:schemeClr val="accent2"/>
          </a:solidFill>
        </a:ln>
      </dgm:spPr>
      <dgm:t>
        <a:bodyPr/>
        <a:lstStyle/>
        <a:p>
          <a:r>
            <a:rPr lang="ru-RU" sz="1800" dirty="0" smtClean="0">
              <a:solidFill>
                <a:schemeClr val="tx1"/>
              </a:solidFill>
            </a:rPr>
            <a:t>Расчет платы </a:t>
          </a:r>
          <a:br>
            <a:rPr lang="ru-RU" sz="1800" dirty="0" smtClean="0">
              <a:solidFill>
                <a:schemeClr val="tx1"/>
              </a:solidFill>
            </a:rPr>
          </a:br>
          <a:r>
            <a:rPr lang="ru-RU" sz="1800" dirty="0" smtClean="0">
              <a:solidFill>
                <a:schemeClr val="tx1"/>
              </a:solidFill>
            </a:rPr>
            <a:t>по индивидуальному проекту</a:t>
          </a:r>
          <a:endParaRPr lang="ru-RU" sz="1800" dirty="0">
            <a:solidFill>
              <a:schemeClr val="tx1"/>
            </a:solidFill>
          </a:endParaRPr>
        </a:p>
      </dgm:t>
    </dgm:pt>
    <dgm:pt modelId="{BC6CC64C-6568-474F-822F-AF9A597CDA32}" type="parTrans" cxnId="{C96290E2-482C-4743-AC71-9473F2D3B59B}">
      <dgm:prSet/>
      <dgm:spPr/>
      <dgm:t>
        <a:bodyPr/>
        <a:lstStyle/>
        <a:p>
          <a:endParaRPr lang="ru-RU"/>
        </a:p>
      </dgm:t>
    </dgm:pt>
    <dgm:pt modelId="{EA9F0FA3-0E51-4767-A9D7-2811EE23F833}" type="sibTrans" cxnId="{C96290E2-482C-4743-AC71-9473F2D3B59B}">
      <dgm:prSet/>
      <dgm:spPr/>
      <dgm:t>
        <a:bodyPr/>
        <a:lstStyle/>
        <a:p>
          <a:endParaRPr lang="ru-RU"/>
        </a:p>
      </dgm:t>
    </dgm:pt>
    <dgm:pt modelId="{67FD3A75-2CAD-4432-A38D-494B3DF552EA}">
      <dgm:prSet phldrT="[Текст]" custT="1"/>
      <dgm:spPr>
        <a:solidFill>
          <a:schemeClr val="bg1">
            <a:lumMod val="95000"/>
            <a:alpha val="90000"/>
          </a:schemeClr>
        </a:solidFill>
        <a:ln w="12700">
          <a:solidFill>
            <a:schemeClr val="accent2">
              <a:alpha val="90000"/>
            </a:schemeClr>
          </a:solidFill>
        </a:ln>
      </dgm:spPr>
      <dgm:t>
        <a:bodyPr/>
        <a:lstStyle/>
        <a:p>
          <a:r>
            <a:rPr lang="ru-RU" sz="1400" dirty="0" smtClean="0"/>
            <a:t>в отношении конкретного Заявителя плата утверждается уполномоченным органом исполнительной власти в области государственного регулирования тарифов</a:t>
          </a:r>
          <a:endParaRPr lang="ru-RU" sz="1400" dirty="0"/>
        </a:p>
      </dgm:t>
    </dgm:pt>
    <dgm:pt modelId="{CC5E8C7D-95FF-4903-9E47-183F7FA97AA9}" type="parTrans" cxnId="{0838870C-8031-4301-9E77-EE93A25BD89C}">
      <dgm:prSet/>
      <dgm:spPr/>
      <dgm:t>
        <a:bodyPr/>
        <a:lstStyle/>
        <a:p>
          <a:endParaRPr lang="ru-RU"/>
        </a:p>
      </dgm:t>
    </dgm:pt>
    <dgm:pt modelId="{39D32EE9-A76D-43E8-A3C0-B7BBBF31BF0B}" type="sibTrans" cxnId="{0838870C-8031-4301-9E77-EE93A25BD89C}">
      <dgm:prSet/>
      <dgm:spPr/>
      <dgm:t>
        <a:bodyPr/>
        <a:lstStyle/>
        <a:p>
          <a:endParaRPr lang="ru-RU"/>
        </a:p>
      </dgm:t>
    </dgm:pt>
    <dgm:pt modelId="{79671E61-9900-46BC-A776-163DA5648FB7}" type="pres">
      <dgm:prSet presAssocID="{557627B7-A9F4-4F09-89DC-3786F28A353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2318B199-CA23-4F2C-B349-D44922539941}" type="pres">
      <dgm:prSet presAssocID="{9AB3E0B3-FD78-47E7-84CF-D0F2F949F07A}" presName="boxAndChildren" presStyleCnt="0"/>
      <dgm:spPr/>
    </dgm:pt>
    <dgm:pt modelId="{528AC245-1904-40CB-9276-B0BD0DEA2E32}" type="pres">
      <dgm:prSet presAssocID="{9AB3E0B3-FD78-47E7-84CF-D0F2F949F07A}" presName="parentTextBox" presStyleLbl="node1" presStyleIdx="0" presStyleCnt="2"/>
      <dgm:spPr/>
      <dgm:t>
        <a:bodyPr/>
        <a:lstStyle/>
        <a:p>
          <a:endParaRPr lang="ru-RU"/>
        </a:p>
      </dgm:t>
    </dgm:pt>
    <dgm:pt modelId="{80930597-A459-4386-9D5D-D5710C5A50D3}" type="pres">
      <dgm:prSet presAssocID="{9AB3E0B3-FD78-47E7-84CF-D0F2F949F07A}" presName="entireBox" presStyleLbl="node1" presStyleIdx="0" presStyleCnt="2" custLinFactNeighborX="1152" custLinFactNeighborY="1707"/>
      <dgm:spPr/>
      <dgm:t>
        <a:bodyPr/>
        <a:lstStyle/>
        <a:p>
          <a:endParaRPr lang="ru-RU"/>
        </a:p>
      </dgm:t>
    </dgm:pt>
    <dgm:pt modelId="{DF934E7E-3E15-404B-890E-A814D7306015}" type="pres">
      <dgm:prSet presAssocID="{9AB3E0B3-FD78-47E7-84CF-D0F2F949F07A}" presName="descendantBox" presStyleCnt="0"/>
      <dgm:spPr/>
    </dgm:pt>
    <dgm:pt modelId="{60FEA646-E51A-433C-A5A9-F6A111B64A0D}" type="pres">
      <dgm:prSet presAssocID="{67FD3A75-2CAD-4432-A38D-494B3DF552EA}" presName="childTextBox" presStyleLbl="fgAccFollowNode1" presStyleIdx="0" presStyleCnt="1" custScaleY="106904" custLinFactNeighborY="683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462075F-7072-42AC-8BAD-E58BCFF4C3BF}" type="pres">
      <dgm:prSet presAssocID="{FBA16A61-8A81-44A8-AFAD-4E17F413B4FD}" presName="sp" presStyleCnt="0"/>
      <dgm:spPr/>
    </dgm:pt>
    <dgm:pt modelId="{07F891F6-FC01-467A-86EE-781A6778FE49}" type="pres">
      <dgm:prSet presAssocID="{F322CE14-82CE-44E9-A550-87FBF6E3B2D1}" presName="arrowAndChildren" presStyleCnt="0"/>
      <dgm:spPr/>
    </dgm:pt>
    <dgm:pt modelId="{5502ED1A-694B-4321-BAB4-71D1F3FD6C75}" type="pres">
      <dgm:prSet presAssocID="{F322CE14-82CE-44E9-A550-87FBF6E3B2D1}" presName="parentTextArrow" presStyleLbl="node1" presStyleIdx="1" presStyleCnt="2" custScaleY="49872" custLinFactNeighborX="-1724" custLinFactNeighborY="-45"/>
      <dgm:spPr/>
      <dgm:t>
        <a:bodyPr/>
        <a:lstStyle/>
        <a:p>
          <a:endParaRPr lang="ru-RU"/>
        </a:p>
      </dgm:t>
    </dgm:pt>
  </dgm:ptLst>
  <dgm:cxnLst>
    <dgm:cxn modelId="{C96290E2-482C-4743-AC71-9473F2D3B59B}" srcId="{557627B7-A9F4-4F09-89DC-3786F28A3531}" destId="{9AB3E0B3-FD78-47E7-84CF-D0F2F949F07A}" srcOrd="1" destOrd="0" parTransId="{BC6CC64C-6568-474F-822F-AF9A597CDA32}" sibTransId="{EA9F0FA3-0E51-4767-A9D7-2811EE23F833}"/>
    <dgm:cxn modelId="{2492E51A-29F4-4FC9-A7EA-7B78BA923075}" srcId="{557627B7-A9F4-4F09-89DC-3786F28A3531}" destId="{F322CE14-82CE-44E9-A550-87FBF6E3B2D1}" srcOrd="0" destOrd="0" parTransId="{24EF378E-AEBB-4E4F-8DBB-CD056772B140}" sibTransId="{FBA16A61-8A81-44A8-AFAD-4E17F413B4FD}"/>
    <dgm:cxn modelId="{869188D3-C352-4162-8436-6BE63A067A10}" type="presOf" srcId="{9AB3E0B3-FD78-47E7-84CF-D0F2F949F07A}" destId="{528AC245-1904-40CB-9276-B0BD0DEA2E32}" srcOrd="0" destOrd="0" presId="urn:microsoft.com/office/officeart/2005/8/layout/process4"/>
    <dgm:cxn modelId="{84C67FA0-834D-4780-AC37-92F364AFC699}" type="presOf" srcId="{67FD3A75-2CAD-4432-A38D-494B3DF552EA}" destId="{60FEA646-E51A-433C-A5A9-F6A111B64A0D}" srcOrd="0" destOrd="0" presId="urn:microsoft.com/office/officeart/2005/8/layout/process4"/>
    <dgm:cxn modelId="{39F83F21-E5AA-4AFD-B885-2DA34FA240CB}" type="presOf" srcId="{557627B7-A9F4-4F09-89DC-3786F28A3531}" destId="{79671E61-9900-46BC-A776-163DA5648FB7}" srcOrd="0" destOrd="0" presId="urn:microsoft.com/office/officeart/2005/8/layout/process4"/>
    <dgm:cxn modelId="{D9A80D3F-6517-49EA-92AA-CF4193956419}" type="presOf" srcId="{9AB3E0B3-FD78-47E7-84CF-D0F2F949F07A}" destId="{80930597-A459-4386-9D5D-D5710C5A50D3}" srcOrd="1" destOrd="0" presId="urn:microsoft.com/office/officeart/2005/8/layout/process4"/>
    <dgm:cxn modelId="{38D84347-65F7-417D-8F2D-DDB77861375A}" type="presOf" srcId="{F322CE14-82CE-44E9-A550-87FBF6E3B2D1}" destId="{5502ED1A-694B-4321-BAB4-71D1F3FD6C75}" srcOrd="0" destOrd="0" presId="urn:microsoft.com/office/officeart/2005/8/layout/process4"/>
    <dgm:cxn modelId="{0838870C-8031-4301-9E77-EE93A25BD89C}" srcId="{9AB3E0B3-FD78-47E7-84CF-D0F2F949F07A}" destId="{67FD3A75-2CAD-4432-A38D-494B3DF552EA}" srcOrd="0" destOrd="0" parTransId="{CC5E8C7D-95FF-4903-9E47-183F7FA97AA9}" sibTransId="{39D32EE9-A76D-43E8-A3C0-B7BBBF31BF0B}"/>
    <dgm:cxn modelId="{E70D33E9-9D0C-4F1A-B6C1-B713754C1851}" type="presParOf" srcId="{79671E61-9900-46BC-A776-163DA5648FB7}" destId="{2318B199-CA23-4F2C-B349-D44922539941}" srcOrd="0" destOrd="0" presId="urn:microsoft.com/office/officeart/2005/8/layout/process4"/>
    <dgm:cxn modelId="{107BDCD5-D660-440D-9481-35D310357980}" type="presParOf" srcId="{2318B199-CA23-4F2C-B349-D44922539941}" destId="{528AC245-1904-40CB-9276-B0BD0DEA2E32}" srcOrd="0" destOrd="0" presId="urn:microsoft.com/office/officeart/2005/8/layout/process4"/>
    <dgm:cxn modelId="{4F613597-1AEF-4885-9B23-B8B281603A41}" type="presParOf" srcId="{2318B199-CA23-4F2C-B349-D44922539941}" destId="{80930597-A459-4386-9D5D-D5710C5A50D3}" srcOrd="1" destOrd="0" presId="urn:microsoft.com/office/officeart/2005/8/layout/process4"/>
    <dgm:cxn modelId="{4440DCD8-8979-48ED-96B4-9F01525A9F0B}" type="presParOf" srcId="{2318B199-CA23-4F2C-B349-D44922539941}" destId="{DF934E7E-3E15-404B-890E-A814D7306015}" srcOrd="2" destOrd="0" presId="urn:microsoft.com/office/officeart/2005/8/layout/process4"/>
    <dgm:cxn modelId="{D572239B-3A54-4FC4-A69A-38481501CCCA}" type="presParOf" srcId="{DF934E7E-3E15-404B-890E-A814D7306015}" destId="{60FEA646-E51A-433C-A5A9-F6A111B64A0D}" srcOrd="0" destOrd="0" presId="urn:microsoft.com/office/officeart/2005/8/layout/process4"/>
    <dgm:cxn modelId="{25A67D35-C2AF-4EF4-B663-C874CCFC60A2}" type="presParOf" srcId="{79671E61-9900-46BC-A776-163DA5648FB7}" destId="{5462075F-7072-42AC-8BAD-E58BCFF4C3BF}" srcOrd="1" destOrd="0" presId="urn:microsoft.com/office/officeart/2005/8/layout/process4"/>
    <dgm:cxn modelId="{C47A0300-68CE-4618-BEA4-745D8BE05FA2}" type="presParOf" srcId="{79671E61-9900-46BC-A776-163DA5648FB7}" destId="{07F891F6-FC01-467A-86EE-781A6778FE49}" srcOrd="2" destOrd="0" presId="urn:microsoft.com/office/officeart/2005/8/layout/process4"/>
    <dgm:cxn modelId="{366343F1-63DC-4EB9-A654-833BF3E60C35}" type="presParOf" srcId="{07F891F6-FC01-467A-86EE-781A6778FE49}" destId="{5502ED1A-694B-4321-BAB4-71D1F3FD6C75}" srcOrd="0" destOrd="0" presId="urn:microsoft.com/office/officeart/2005/8/layout/process4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57627B7-A9F4-4F09-89DC-3786F28A3531}" type="doc">
      <dgm:prSet loTypeId="urn:microsoft.com/office/officeart/2005/8/layout/process4" loCatId="process" qsTypeId="urn:microsoft.com/office/officeart/2005/8/quickstyle/simple2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F322CE14-82CE-44E9-A550-87FBF6E3B2D1}">
      <dgm:prSet phldrT="[Текст]" custT="1"/>
      <dgm:spPr>
        <a:solidFill>
          <a:schemeClr val="accent2">
            <a:lumMod val="20000"/>
            <a:lumOff val="80000"/>
          </a:schemeClr>
        </a:solidFill>
        <a:ln w="12700">
          <a:solidFill>
            <a:schemeClr val="accent2"/>
          </a:solidFill>
        </a:ln>
      </dgm:spPr>
      <dgm:t>
        <a:bodyPr/>
        <a:lstStyle/>
        <a:p>
          <a:r>
            <a:rPr lang="ru-RU" sz="2000" b="1" dirty="0" smtClean="0">
              <a:solidFill>
                <a:schemeClr val="tx1"/>
              </a:solidFill>
            </a:rPr>
            <a:t>Существует</a:t>
          </a:r>
          <a:r>
            <a:rPr lang="ru-RU" sz="2000" dirty="0" smtClean="0">
              <a:solidFill>
                <a:schemeClr val="tx1"/>
              </a:solidFill>
            </a:rPr>
            <a:t> </a:t>
          </a:r>
          <a:br>
            <a:rPr lang="ru-RU" sz="2000" dirty="0" smtClean="0">
              <a:solidFill>
                <a:schemeClr val="tx1"/>
              </a:solidFill>
            </a:rPr>
          </a:br>
          <a:r>
            <a:rPr lang="ru-RU" sz="2000" dirty="0" smtClean="0">
              <a:solidFill>
                <a:schemeClr val="tx1"/>
              </a:solidFill>
            </a:rPr>
            <a:t>техническая возможность ТП</a:t>
          </a:r>
          <a:endParaRPr lang="ru-RU" sz="2000" dirty="0">
            <a:solidFill>
              <a:schemeClr val="tx1"/>
            </a:solidFill>
          </a:endParaRPr>
        </a:p>
      </dgm:t>
    </dgm:pt>
    <dgm:pt modelId="{24EF378E-AEBB-4E4F-8DBB-CD056772B140}" type="parTrans" cxnId="{2492E51A-29F4-4FC9-A7EA-7B78BA923075}">
      <dgm:prSet/>
      <dgm:spPr/>
      <dgm:t>
        <a:bodyPr/>
        <a:lstStyle/>
        <a:p>
          <a:endParaRPr lang="ru-RU"/>
        </a:p>
      </dgm:t>
    </dgm:pt>
    <dgm:pt modelId="{FBA16A61-8A81-44A8-AFAD-4E17F413B4FD}" type="sibTrans" cxnId="{2492E51A-29F4-4FC9-A7EA-7B78BA923075}">
      <dgm:prSet/>
      <dgm:spPr/>
      <dgm:t>
        <a:bodyPr/>
        <a:lstStyle/>
        <a:p>
          <a:endParaRPr lang="ru-RU"/>
        </a:p>
      </dgm:t>
    </dgm:pt>
    <dgm:pt modelId="{9AB3E0B3-FD78-47E7-84CF-D0F2F949F07A}">
      <dgm:prSet phldrT="[Текст]" custT="1"/>
      <dgm:spPr>
        <a:solidFill>
          <a:schemeClr val="accent2">
            <a:lumMod val="20000"/>
            <a:lumOff val="80000"/>
          </a:schemeClr>
        </a:solidFill>
        <a:ln w="12700">
          <a:solidFill>
            <a:schemeClr val="accent2"/>
          </a:solidFill>
        </a:ln>
      </dgm:spPr>
      <dgm:t>
        <a:bodyPr/>
        <a:lstStyle/>
        <a:p>
          <a:r>
            <a:rPr lang="ru-RU" sz="1800" dirty="0" smtClean="0">
              <a:solidFill>
                <a:schemeClr val="tx1"/>
              </a:solidFill>
            </a:rPr>
            <a:t>Расчет платы сетевой организацией на основе утвержденных ставок платы</a:t>
          </a:r>
          <a:endParaRPr lang="ru-RU" sz="1800" dirty="0">
            <a:solidFill>
              <a:schemeClr val="tx1"/>
            </a:solidFill>
          </a:endParaRPr>
        </a:p>
      </dgm:t>
    </dgm:pt>
    <dgm:pt modelId="{BC6CC64C-6568-474F-822F-AF9A597CDA32}" type="parTrans" cxnId="{C96290E2-482C-4743-AC71-9473F2D3B59B}">
      <dgm:prSet/>
      <dgm:spPr/>
      <dgm:t>
        <a:bodyPr/>
        <a:lstStyle/>
        <a:p>
          <a:endParaRPr lang="ru-RU"/>
        </a:p>
      </dgm:t>
    </dgm:pt>
    <dgm:pt modelId="{EA9F0FA3-0E51-4767-A9D7-2811EE23F833}" type="sibTrans" cxnId="{C96290E2-482C-4743-AC71-9473F2D3B59B}">
      <dgm:prSet/>
      <dgm:spPr/>
      <dgm:t>
        <a:bodyPr/>
        <a:lstStyle/>
        <a:p>
          <a:endParaRPr lang="ru-RU"/>
        </a:p>
      </dgm:t>
    </dgm:pt>
    <dgm:pt modelId="{FEBF16A0-0177-489F-8190-0D556517EBD4}">
      <dgm:prSet phldrT="[Текст]" custT="1"/>
      <dgm:spPr>
        <a:solidFill>
          <a:schemeClr val="accent2">
            <a:lumMod val="20000"/>
            <a:lumOff val="80000"/>
          </a:schemeClr>
        </a:solidFill>
        <a:ln w="12700">
          <a:solidFill>
            <a:schemeClr val="accent2"/>
          </a:solidFill>
        </a:ln>
      </dgm:spPr>
      <dgm:t>
        <a:bodyPr anchor="t"/>
        <a:lstStyle/>
        <a:p>
          <a:r>
            <a:rPr lang="ru-RU" sz="1600" dirty="0" smtClean="0">
              <a:solidFill>
                <a:schemeClr val="tx1"/>
              </a:solidFill>
            </a:rPr>
            <a:t>Заявитель вправе на стадии заключения договора самостоятельно выбрать вид ставки платы </a:t>
          </a:r>
          <a:endParaRPr lang="ru-RU" sz="1600" dirty="0">
            <a:solidFill>
              <a:schemeClr val="tx1"/>
            </a:solidFill>
          </a:endParaRPr>
        </a:p>
      </dgm:t>
    </dgm:pt>
    <dgm:pt modelId="{BA1815EE-6C67-4CE2-979F-54ADAE187E5F}" type="parTrans" cxnId="{2FAE841A-5E15-46EC-AFC8-78DF36D2A49F}">
      <dgm:prSet/>
      <dgm:spPr/>
      <dgm:t>
        <a:bodyPr/>
        <a:lstStyle/>
        <a:p>
          <a:endParaRPr lang="ru-RU"/>
        </a:p>
      </dgm:t>
    </dgm:pt>
    <dgm:pt modelId="{0A99774F-C8A1-4693-84F0-9E594FB51F5B}" type="sibTrans" cxnId="{2FAE841A-5E15-46EC-AFC8-78DF36D2A49F}">
      <dgm:prSet/>
      <dgm:spPr/>
      <dgm:t>
        <a:bodyPr/>
        <a:lstStyle/>
        <a:p>
          <a:endParaRPr lang="ru-RU"/>
        </a:p>
      </dgm:t>
    </dgm:pt>
    <dgm:pt modelId="{A266B533-D0E8-4A9D-B9B1-FDD9430B5F90}">
      <dgm:prSet phldrT="[Текст]" custT="1"/>
      <dgm:spPr>
        <a:solidFill>
          <a:schemeClr val="bg1">
            <a:lumMod val="95000"/>
            <a:alpha val="90000"/>
          </a:schemeClr>
        </a:solidFill>
        <a:ln w="12700">
          <a:solidFill>
            <a:schemeClr val="accent2">
              <a:alpha val="90000"/>
            </a:schemeClr>
          </a:solidFill>
        </a:ln>
      </dgm:spPr>
      <dgm:t>
        <a:bodyPr/>
        <a:lstStyle/>
        <a:p>
          <a:r>
            <a:rPr lang="ru-RU" sz="1300" dirty="0" smtClean="0"/>
            <a:t>стандартизированные тарифные ставки</a:t>
          </a:r>
          <a:endParaRPr lang="ru-RU" sz="1300" dirty="0"/>
        </a:p>
      </dgm:t>
    </dgm:pt>
    <dgm:pt modelId="{637B0290-6D93-4483-AB27-2311B58929EA}" type="parTrans" cxnId="{C3842438-C6BB-4C24-BB3B-EF866AF6BAE9}">
      <dgm:prSet/>
      <dgm:spPr/>
      <dgm:t>
        <a:bodyPr/>
        <a:lstStyle/>
        <a:p>
          <a:endParaRPr lang="ru-RU"/>
        </a:p>
      </dgm:t>
    </dgm:pt>
    <dgm:pt modelId="{DD165810-AE11-4B32-A917-B6B75D157066}" type="sibTrans" cxnId="{C3842438-C6BB-4C24-BB3B-EF866AF6BAE9}">
      <dgm:prSet/>
      <dgm:spPr/>
      <dgm:t>
        <a:bodyPr/>
        <a:lstStyle/>
        <a:p>
          <a:endParaRPr lang="ru-RU"/>
        </a:p>
      </dgm:t>
    </dgm:pt>
    <dgm:pt modelId="{5C79CA32-B2C7-458F-A1B8-3E1F78D25D54}">
      <dgm:prSet phldrT="[Текст]" custT="1"/>
      <dgm:spPr>
        <a:solidFill>
          <a:schemeClr val="bg1">
            <a:lumMod val="95000"/>
            <a:alpha val="90000"/>
          </a:schemeClr>
        </a:solidFill>
        <a:ln w="12700">
          <a:solidFill>
            <a:schemeClr val="accent2">
              <a:alpha val="90000"/>
            </a:schemeClr>
          </a:solidFill>
        </a:ln>
      </dgm:spPr>
      <dgm:t>
        <a:bodyPr/>
        <a:lstStyle/>
        <a:p>
          <a:r>
            <a:rPr lang="ru-RU" sz="1300" dirty="0" smtClean="0"/>
            <a:t>ставки за единицу максимальной мощности</a:t>
          </a:r>
          <a:endParaRPr lang="ru-RU" sz="1300" dirty="0"/>
        </a:p>
      </dgm:t>
    </dgm:pt>
    <dgm:pt modelId="{C029FD67-934F-4193-8E1F-E11CFF36D62A}" type="parTrans" cxnId="{9EA2B396-2622-4F4F-9477-6AA7BB762AFE}">
      <dgm:prSet/>
      <dgm:spPr/>
      <dgm:t>
        <a:bodyPr/>
        <a:lstStyle/>
        <a:p>
          <a:endParaRPr lang="ru-RU"/>
        </a:p>
      </dgm:t>
    </dgm:pt>
    <dgm:pt modelId="{619E794D-6A32-4A27-BCBA-0B5EA1EEB3BF}" type="sibTrans" cxnId="{9EA2B396-2622-4F4F-9477-6AA7BB762AFE}">
      <dgm:prSet/>
      <dgm:spPr/>
      <dgm:t>
        <a:bodyPr/>
        <a:lstStyle/>
        <a:p>
          <a:endParaRPr lang="ru-RU"/>
        </a:p>
      </dgm:t>
    </dgm:pt>
    <dgm:pt modelId="{79671E61-9900-46BC-A776-163DA5648FB7}" type="pres">
      <dgm:prSet presAssocID="{557627B7-A9F4-4F09-89DC-3786F28A353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E6016B5-1166-4CE6-AC5D-8E318A9D8D21}" type="pres">
      <dgm:prSet presAssocID="{FEBF16A0-0177-489F-8190-0D556517EBD4}" presName="boxAndChildren" presStyleCnt="0"/>
      <dgm:spPr/>
    </dgm:pt>
    <dgm:pt modelId="{12F1A226-C0AC-4DFF-B70A-EFEB7379C7DC}" type="pres">
      <dgm:prSet presAssocID="{FEBF16A0-0177-489F-8190-0D556517EBD4}" presName="parentTextBox" presStyleLbl="node1" presStyleIdx="0" presStyleCnt="3"/>
      <dgm:spPr/>
      <dgm:t>
        <a:bodyPr/>
        <a:lstStyle/>
        <a:p>
          <a:endParaRPr lang="ru-RU"/>
        </a:p>
      </dgm:t>
    </dgm:pt>
    <dgm:pt modelId="{2E093E3A-E84D-4379-9E63-350EB0C3972D}" type="pres">
      <dgm:prSet presAssocID="{FEBF16A0-0177-489F-8190-0D556517EBD4}" presName="entireBox" presStyleLbl="node1" presStyleIdx="0" presStyleCnt="3" custScaleY="114721"/>
      <dgm:spPr/>
      <dgm:t>
        <a:bodyPr/>
        <a:lstStyle/>
        <a:p>
          <a:endParaRPr lang="ru-RU"/>
        </a:p>
      </dgm:t>
    </dgm:pt>
    <dgm:pt modelId="{F11EFC93-544D-4344-8712-86D5E7F5B40B}" type="pres">
      <dgm:prSet presAssocID="{FEBF16A0-0177-489F-8190-0D556517EBD4}" presName="descendantBox" presStyleCnt="0"/>
      <dgm:spPr/>
    </dgm:pt>
    <dgm:pt modelId="{AE5C55CC-3DFA-41F3-B086-42526911F1EE}" type="pres">
      <dgm:prSet presAssocID="{A266B533-D0E8-4A9D-B9B1-FDD9430B5F90}" presName="childTextBox" presStyleLbl="fgAccFollowNode1" presStyleIdx="0" presStyleCnt="2" custLinFactNeighborY="2072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97056B9-93C6-4499-9402-39F36CD60F03}" type="pres">
      <dgm:prSet presAssocID="{5C79CA32-B2C7-458F-A1B8-3E1F78D25D54}" presName="childTextBox" presStyleLbl="fgAccFollowNode1" presStyleIdx="1" presStyleCnt="2" custLinFactNeighborY="2072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2498691-C5C4-44EA-A9E5-F79FB5A3E065}" type="pres">
      <dgm:prSet presAssocID="{EA9F0FA3-0E51-4767-A9D7-2811EE23F833}" presName="sp" presStyleCnt="0"/>
      <dgm:spPr/>
    </dgm:pt>
    <dgm:pt modelId="{7DA113FC-4681-4694-B083-28961B7D82DA}" type="pres">
      <dgm:prSet presAssocID="{9AB3E0B3-FD78-47E7-84CF-D0F2F949F07A}" presName="arrowAndChildren" presStyleCnt="0"/>
      <dgm:spPr/>
    </dgm:pt>
    <dgm:pt modelId="{0719019E-B747-4E18-9A29-18D6C6F9323F}" type="pres">
      <dgm:prSet presAssocID="{9AB3E0B3-FD78-47E7-84CF-D0F2F949F07A}" presName="parentTextArrow" presStyleLbl="node1" presStyleIdx="1" presStyleCnt="3" custScaleY="74300"/>
      <dgm:spPr/>
      <dgm:t>
        <a:bodyPr/>
        <a:lstStyle/>
        <a:p>
          <a:endParaRPr lang="ru-RU"/>
        </a:p>
      </dgm:t>
    </dgm:pt>
    <dgm:pt modelId="{5462075F-7072-42AC-8BAD-E58BCFF4C3BF}" type="pres">
      <dgm:prSet presAssocID="{FBA16A61-8A81-44A8-AFAD-4E17F413B4FD}" presName="sp" presStyleCnt="0"/>
      <dgm:spPr/>
    </dgm:pt>
    <dgm:pt modelId="{07F891F6-FC01-467A-86EE-781A6778FE49}" type="pres">
      <dgm:prSet presAssocID="{F322CE14-82CE-44E9-A550-87FBF6E3B2D1}" presName="arrowAndChildren" presStyleCnt="0"/>
      <dgm:spPr/>
    </dgm:pt>
    <dgm:pt modelId="{5502ED1A-694B-4321-BAB4-71D1F3FD6C75}" type="pres">
      <dgm:prSet presAssocID="{F322CE14-82CE-44E9-A550-87FBF6E3B2D1}" presName="parentTextArrow" presStyleLbl="node1" presStyleIdx="2" presStyleCnt="3" custScaleY="72039"/>
      <dgm:spPr/>
      <dgm:t>
        <a:bodyPr/>
        <a:lstStyle/>
        <a:p>
          <a:endParaRPr lang="ru-RU"/>
        </a:p>
      </dgm:t>
    </dgm:pt>
  </dgm:ptLst>
  <dgm:cxnLst>
    <dgm:cxn modelId="{7AA6A95F-CB80-427D-9A69-4C11A4462803}" type="presOf" srcId="{FEBF16A0-0177-489F-8190-0D556517EBD4}" destId="{12F1A226-C0AC-4DFF-B70A-EFEB7379C7DC}" srcOrd="0" destOrd="0" presId="urn:microsoft.com/office/officeart/2005/8/layout/process4"/>
    <dgm:cxn modelId="{41E1A52D-CD95-4E65-81F6-8B739150F133}" type="presOf" srcId="{5C79CA32-B2C7-458F-A1B8-3E1F78D25D54}" destId="{F97056B9-93C6-4499-9402-39F36CD60F03}" srcOrd="0" destOrd="0" presId="urn:microsoft.com/office/officeart/2005/8/layout/process4"/>
    <dgm:cxn modelId="{C96290E2-482C-4743-AC71-9473F2D3B59B}" srcId="{557627B7-A9F4-4F09-89DC-3786F28A3531}" destId="{9AB3E0B3-FD78-47E7-84CF-D0F2F949F07A}" srcOrd="1" destOrd="0" parTransId="{BC6CC64C-6568-474F-822F-AF9A597CDA32}" sibTransId="{EA9F0FA3-0E51-4767-A9D7-2811EE23F833}"/>
    <dgm:cxn modelId="{AFB9E0AF-F092-436C-9C30-1CB34F53561B}" type="presOf" srcId="{A266B533-D0E8-4A9D-B9B1-FDD9430B5F90}" destId="{AE5C55CC-3DFA-41F3-B086-42526911F1EE}" srcOrd="0" destOrd="0" presId="urn:microsoft.com/office/officeart/2005/8/layout/process4"/>
    <dgm:cxn modelId="{EE13F8EF-7F65-49B8-B98A-C967A02CAA51}" type="presOf" srcId="{FEBF16A0-0177-489F-8190-0D556517EBD4}" destId="{2E093E3A-E84D-4379-9E63-350EB0C3972D}" srcOrd="1" destOrd="0" presId="urn:microsoft.com/office/officeart/2005/8/layout/process4"/>
    <dgm:cxn modelId="{185E5231-27D7-45AF-B516-2DD8A0F8C896}" type="presOf" srcId="{F322CE14-82CE-44E9-A550-87FBF6E3B2D1}" destId="{5502ED1A-694B-4321-BAB4-71D1F3FD6C75}" srcOrd="0" destOrd="0" presId="urn:microsoft.com/office/officeart/2005/8/layout/process4"/>
    <dgm:cxn modelId="{F4BFE92E-5DAF-4114-A1E8-C648EB772F4C}" type="presOf" srcId="{9AB3E0B3-FD78-47E7-84CF-D0F2F949F07A}" destId="{0719019E-B747-4E18-9A29-18D6C6F9323F}" srcOrd="0" destOrd="0" presId="urn:microsoft.com/office/officeart/2005/8/layout/process4"/>
    <dgm:cxn modelId="{C3842438-C6BB-4C24-BB3B-EF866AF6BAE9}" srcId="{FEBF16A0-0177-489F-8190-0D556517EBD4}" destId="{A266B533-D0E8-4A9D-B9B1-FDD9430B5F90}" srcOrd="0" destOrd="0" parTransId="{637B0290-6D93-4483-AB27-2311B58929EA}" sibTransId="{DD165810-AE11-4B32-A917-B6B75D157066}"/>
    <dgm:cxn modelId="{2492E51A-29F4-4FC9-A7EA-7B78BA923075}" srcId="{557627B7-A9F4-4F09-89DC-3786F28A3531}" destId="{F322CE14-82CE-44E9-A550-87FBF6E3B2D1}" srcOrd="0" destOrd="0" parTransId="{24EF378E-AEBB-4E4F-8DBB-CD056772B140}" sibTransId="{FBA16A61-8A81-44A8-AFAD-4E17F413B4FD}"/>
    <dgm:cxn modelId="{9EA2B396-2622-4F4F-9477-6AA7BB762AFE}" srcId="{FEBF16A0-0177-489F-8190-0D556517EBD4}" destId="{5C79CA32-B2C7-458F-A1B8-3E1F78D25D54}" srcOrd="1" destOrd="0" parTransId="{C029FD67-934F-4193-8E1F-E11CFF36D62A}" sibTransId="{619E794D-6A32-4A27-BCBA-0B5EA1EEB3BF}"/>
    <dgm:cxn modelId="{2FAE841A-5E15-46EC-AFC8-78DF36D2A49F}" srcId="{557627B7-A9F4-4F09-89DC-3786F28A3531}" destId="{FEBF16A0-0177-489F-8190-0D556517EBD4}" srcOrd="2" destOrd="0" parTransId="{BA1815EE-6C67-4CE2-979F-54ADAE187E5F}" sibTransId="{0A99774F-C8A1-4693-84F0-9E594FB51F5B}"/>
    <dgm:cxn modelId="{043BA858-C220-482F-A69B-37B467DB5399}" type="presOf" srcId="{557627B7-A9F4-4F09-89DC-3786F28A3531}" destId="{79671E61-9900-46BC-A776-163DA5648FB7}" srcOrd="0" destOrd="0" presId="urn:microsoft.com/office/officeart/2005/8/layout/process4"/>
    <dgm:cxn modelId="{14EF9B65-C701-42BA-9338-1E49B746ADD5}" type="presParOf" srcId="{79671E61-9900-46BC-A776-163DA5648FB7}" destId="{6E6016B5-1166-4CE6-AC5D-8E318A9D8D21}" srcOrd="0" destOrd="0" presId="urn:microsoft.com/office/officeart/2005/8/layout/process4"/>
    <dgm:cxn modelId="{E338AAE8-020D-4579-A0DC-5BBE10318078}" type="presParOf" srcId="{6E6016B5-1166-4CE6-AC5D-8E318A9D8D21}" destId="{12F1A226-C0AC-4DFF-B70A-EFEB7379C7DC}" srcOrd="0" destOrd="0" presId="urn:microsoft.com/office/officeart/2005/8/layout/process4"/>
    <dgm:cxn modelId="{66D9D0C0-64E5-4618-8DD8-826D6C4B3AF7}" type="presParOf" srcId="{6E6016B5-1166-4CE6-AC5D-8E318A9D8D21}" destId="{2E093E3A-E84D-4379-9E63-350EB0C3972D}" srcOrd="1" destOrd="0" presId="urn:microsoft.com/office/officeart/2005/8/layout/process4"/>
    <dgm:cxn modelId="{98BAE4C5-15B3-4616-8CC9-C9B9AC052919}" type="presParOf" srcId="{6E6016B5-1166-4CE6-AC5D-8E318A9D8D21}" destId="{F11EFC93-544D-4344-8712-86D5E7F5B40B}" srcOrd="2" destOrd="0" presId="urn:microsoft.com/office/officeart/2005/8/layout/process4"/>
    <dgm:cxn modelId="{25C0FEF2-9E19-4AD0-880B-35D543C4076C}" type="presParOf" srcId="{F11EFC93-544D-4344-8712-86D5E7F5B40B}" destId="{AE5C55CC-3DFA-41F3-B086-42526911F1EE}" srcOrd="0" destOrd="0" presId="urn:microsoft.com/office/officeart/2005/8/layout/process4"/>
    <dgm:cxn modelId="{2C21683A-87A8-4273-81AB-B6BBCB460651}" type="presParOf" srcId="{F11EFC93-544D-4344-8712-86D5E7F5B40B}" destId="{F97056B9-93C6-4499-9402-39F36CD60F03}" srcOrd="1" destOrd="0" presId="urn:microsoft.com/office/officeart/2005/8/layout/process4"/>
    <dgm:cxn modelId="{7BC75E55-732C-4436-B859-0C45111062A3}" type="presParOf" srcId="{79671E61-9900-46BC-A776-163DA5648FB7}" destId="{62498691-C5C4-44EA-A9E5-F79FB5A3E065}" srcOrd="1" destOrd="0" presId="urn:microsoft.com/office/officeart/2005/8/layout/process4"/>
    <dgm:cxn modelId="{AF24D9A6-4C1D-4377-A54A-0DC17C7E5812}" type="presParOf" srcId="{79671E61-9900-46BC-A776-163DA5648FB7}" destId="{7DA113FC-4681-4694-B083-28961B7D82DA}" srcOrd="2" destOrd="0" presId="urn:microsoft.com/office/officeart/2005/8/layout/process4"/>
    <dgm:cxn modelId="{7E724F67-4E04-4066-AA27-5BA70CDB85CC}" type="presParOf" srcId="{7DA113FC-4681-4694-B083-28961B7D82DA}" destId="{0719019E-B747-4E18-9A29-18D6C6F9323F}" srcOrd="0" destOrd="0" presId="urn:microsoft.com/office/officeart/2005/8/layout/process4"/>
    <dgm:cxn modelId="{43FF738E-D2A6-4FA4-BF7E-0DC40830BF46}" type="presParOf" srcId="{79671E61-9900-46BC-A776-163DA5648FB7}" destId="{5462075F-7072-42AC-8BAD-E58BCFF4C3BF}" srcOrd="3" destOrd="0" presId="urn:microsoft.com/office/officeart/2005/8/layout/process4"/>
    <dgm:cxn modelId="{D6CC0262-33E4-40AA-A24D-7796A2606374}" type="presParOf" srcId="{79671E61-9900-46BC-A776-163DA5648FB7}" destId="{07F891F6-FC01-467A-86EE-781A6778FE49}" srcOrd="4" destOrd="0" presId="urn:microsoft.com/office/officeart/2005/8/layout/process4"/>
    <dgm:cxn modelId="{FBB88A2B-7CEF-464A-9F52-96ECCC88E8E1}" type="presParOf" srcId="{07F891F6-FC01-467A-86EE-781A6778FE49}" destId="{5502ED1A-694B-4321-BAB4-71D1F3FD6C75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57627B7-A9F4-4F09-89DC-3786F28A3531}" type="doc">
      <dgm:prSet loTypeId="urn:microsoft.com/office/officeart/2005/8/layout/process4" loCatId="process" qsTypeId="urn:microsoft.com/office/officeart/2005/8/quickstyle/simple2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F322CE14-82CE-44E9-A550-87FBF6E3B2D1}">
      <dgm:prSet phldrT="[Текст]" custT="1"/>
      <dgm:spPr>
        <a:solidFill>
          <a:schemeClr val="accent2">
            <a:lumMod val="20000"/>
            <a:lumOff val="80000"/>
          </a:schemeClr>
        </a:solidFill>
        <a:ln w="12700">
          <a:solidFill>
            <a:schemeClr val="accent2"/>
          </a:solidFill>
        </a:ln>
      </dgm:spPr>
      <dgm:t>
        <a:bodyPr anchor="t"/>
        <a:lstStyle/>
        <a:p>
          <a:pPr>
            <a:lnSpc>
              <a:spcPct val="100000"/>
            </a:lnSpc>
          </a:pPr>
          <a:r>
            <a:rPr lang="ru-RU" sz="2000" dirty="0" smtClean="0">
              <a:solidFill>
                <a:schemeClr val="tx1"/>
              </a:solidFill>
            </a:rPr>
            <a:t>Проверка наличия технической возможности </a:t>
          </a:r>
          <a:br>
            <a:rPr lang="ru-RU" sz="2000" dirty="0" smtClean="0">
              <a:solidFill>
                <a:schemeClr val="tx1"/>
              </a:solidFill>
            </a:rPr>
          </a:br>
          <a:r>
            <a:rPr lang="ru-RU" sz="2000" dirty="0" smtClean="0">
              <a:solidFill>
                <a:schemeClr val="tx1"/>
              </a:solidFill>
            </a:rPr>
            <a:t>технологического присоединения объекта Заявителя</a:t>
          </a:r>
          <a:endParaRPr lang="ru-RU" sz="2000" dirty="0">
            <a:solidFill>
              <a:schemeClr val="tx1"/>
            </a:solidFill>
          </a:endParaRPr>
        </a:p>
      </dgm:t>
    </dgm:pt>
    <dgm:pt modelId="{24EF378E-AEBB-4E4F-8DBB-CD056772B140}" type="parTrans" cxnId="{2492E51A-29F4-4FC9-A7EA-7B78BA923075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FBA16A61-8A81-44A8-AFAD-4E17F413B4FD}" type="sibTrans" cxnId="{2492E51A-29F4-4FC9-A7EA-7B78BA923075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86F26B34-E36B-4D53-98D9-DFA9A941141F}">
      <dgm:prSet phldrT="[Текст]" custT="1"/>
      <dgm:spPr>
        <a:solidFill>
          <a:schemeClr val="bg1">
            <a:lumMod val="95000"/>
            <a:alpha val="90000"/>
          </a:schemeClr>
        </a:solidFill>
        <a:ln w="12700">
          <a:solidFill>
            <a:schemeClr val="accent2">
              <a:alpha val="90000"/>
            </a:schemeClr>
          </a:solidFill>
        </a:ln>
      </dgm:spPr>
      <dgm:t>
        <a:bodyPr/>
        <a:lstStyle/>
        <a:p>
          <a:pPr>
            <a:lnSpc>
              <a:spcPct val="100000"/>
            </a:lnSpc>
          </a:pPr>
          <a:r>
            <a:rPr lang="ru-RU" sz="1600" dirty="0" smtClean="0"/>
            <a:t>соблюдение критериев п. 28 Правил технологического присоединения, </a:t>
          </a:r>
          <a:br>
            <a:rPr lang="ru-RU" sz="1600" dirty="0" smtClean="0"/>
          </a:br>
          <a:r>
            <a:rPr lang="ru-RU" sz="1600" b="0" dirty="0" smtClean="0">
              <a:latin typeface="+mj-lt"/>
              <a:ea typeface="+mn-ea"/>
              <a:cs typeface="+mn-cs"/>
            </a:rPr>
            <a:t>утвержденных постановлением Правительства РФ от 27.12.2004 № 861</a:t>
          </a:r>
          <a:endParaRPr lang="ru-RU" sz="1600" dirty="0"/>
        </a:p>
      </dgm:t>
    </dgm:pt>
    <dgm:pt modelId="{C810C33A-EBE8-4CEC-9B50-14D669F94A9A}" type="parTrans" cxnId="{4FFA0D8A-E9FC-4629-9A68-719865155FD4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4733AD42-4EC3-4419-919C-28280EC9CC4F}" type="sibTrans" cxnId="{4FFA0D8A-E9FC-4629-9A68-719865155FD4}">
      <dgm:prSet/>
      <dgm:spPr/>
      <dgm:t>
        <a:bodyPr/>
        <a:lstStyle/>
        <a:p>
          <a:pPr>
            <a:lnSpc>
              <a:spcPct val="100000"/>
            </a:lnSpc>
          </a:pPr>
          <a:endParaRPr lang="ru-RU"/>
        </a:p>
      </dgm:t>
    </dgm:pt>
    <dgm:pt modelId="{79671E61-9900-46BC-A776-163DA5648FB7}" type="pres">
      <dgm:prSet presAssocID="{557627B7-A9F4-4F09-89DC-3786F28A353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16F0CD2-5577-4DCD-AAED-3F6D273FA0BC}" type="pres">
      <dgm:prSet presAssocID="{F322CE14-82CE-44E9-A550-87FBF6E3B2D1}" presName="boxAndChildren" presStyleCnt="0"/>
      <dgm:spPr/>
    </dgm:pt>
    <dgm:pt modelId="{824A5A59-0E25-4794-B015-104EB7C5BCCB}" type="pres">
      <dgm:prSet presAssocID="{F322CE14-82CE-44E9-A550-87FBF6E3B2D1}" presName="parentTextBox" presStyleLbl="node1" presStyleIdx="0" presStyleCnt="1"/>
      <dgm:spPr/>
      <dgm:t>
        <a:bodyPr/>
        <a:lstStyle/>
        <a:p>
          <a:endParaRPr lang="ru-RU"/>
        </a:p>
      </dgm:t>
    </dgm:pt>
    <dgm:pt modelId="{CE238942-225A-4613-8ABD-27EC9AEE87C9}" type="pres">
      <dgm:prSet presAssocID="{F322CE14-82CE-44E9-A550-87FBF6E3B2D1}" presName="entireBox" presStyleLbl="node1" presStyleIdx="0" presStyleCnt="1" custScaleY="97815" custLinFactNeighborY="4851"/>
      <dgm:spPr/>
      <dgm:t>
        <a:bodyPr/>
        <a:lstStyle/>
        <a:p>
          <a:endParaRPr lang="ru-RU"/>
        </a:p>
      </dgm:t>
    </dgm:pt>
    <dgm:pt modelId="{AB0F66C8-CE03-4194-AAC0-90A6909DE1A5}" type="pres">
      <dgm:prSet presAssocID="{F322CE14-82CE-44E9-A550-87FBF6E3B2D1}" presName="descendantBox" presStyleCnt="0"/>
      <dgm:spPr/>
    </dgm:pt>
    <dgm:pt modelId="{F377B1A8-3F60-4D16-9A5F-D3BF19C83358}" type="pres">
      <dgm:prSet presAssocID="{86F26B34-E36B-4D53-98D9-DFA9A941141F}" presName="childTextBox" presStyleLbl="fgAccFollowNode1" presStyleIdx="0" presStyleCnt="1" custScaleY="80331" custLinFactNeighborY="1420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492E51A-29F4-4FC9-A7EA-7B78BA923075}" srcId="{557627B7-A9F4-4F09-89DC-3786F28A3531}" destId="{F322CE14-82CE-44E9-A550-87FBF6E3B2D1}" srcOrd="0" destOrd="0" parTransId="{24EF378E-AEBB-4E4F-8DBB-CD056772B140}" sibTransId="{FBA16A61-8A81-44A8-AFAD-4E17F413B4FD}"/>
    <dgm:cxn modelId="{BD539BD5-D531-4A28-87E3-CBEF71A73A01}" type="presOf" srcId="{557627B7-A9F4-4F09-89DC-3786F28A3531}" destId="{79671E61-9900-46BC-A776-163DA5648FB7}" srcOrd="0" destOrd="0" presId="urn:microsoft.com/office/officeart/2005/8/layout/process4"/>
    <dgm:cxn modelId="{4FFA0D8A-E9FC-4629-9A68-719865155FD4}" srcId="{F322CE14-82CE-44E9-A550-87FBF6E3B2D1}" destId="{86F26B34-E36B-4D53-98D9-DFA9A941141F}" srcOrd="0" destOrd="0" parTransId="{C810C33A-EBE8-4CEC-9B50-14D669F94A9A}" sibTransId="{4733AD42-4EC3-4419-919C-28280EC9CC4F}"/>
    <dgm:cxn modelId="{4AF975B1-2EA1-4254-8D9A-95AE26891D65}" type="presOf" srcId="{86F26B34-E36B-4D53-98D9-DFA9A941141F}" destId="{F377B1A8-3F60-4D16-9A5F-D3BF19C83358}" srcOrd="0" destOrd="0" presId="urn:microsoft.com/office/officeart/2005/8/layout/process4"/>
    <dgm:cxn modelId="{41631919-8E09-4A05-BF97-9ACB6BDE6D37}" type="presOf" srcId="{F322CE14-82CE-44E9-A550-87FBF6E3B2D1}" destId="{824A5A59-0E25-4794-B015-104EB7C5BCCB}" srcOrd="0" destOrd="0" presId="urn:microsoft.com/office/officeart/2005/8/layout/process4"/>
    <dgm:cxn modelId="{F9FA2932-F3AD-43F7-87D2-E1B68AD90976}" type="presOf" srcId="{F322CE14-82CE-44E9-A550-87FBF6E3B2D1}" destId="{CE238942-225A-4613-8ABD-27EC9AEE87C9}" srcOrd="1" destOrd="0" presId="urn:microsoft.com/office/officeart/2005/8/layout/process4"/>
    <dgm:cxn modelId="{C987904C-D5FF-49B6-839A-B543F22E6F5E}" type="presParOf" srcId="{79671E61-9900-46BC-A776-163DA5648FB7}" destId="{616F0CD2-5577-4DCD-AAED-3F6D273FA0BC}" srcOrd="0" destOrd="0" presId="urn:microsoft.com/office/officeart/2005/8/layout/process4"/>
    <dgm:cxn modelId="{0744426D-8C1A-4AAC-BE78-7C3E80403C11}" type="presParOf" srcId="{616F0CD2-5577-4DCD-AAED-3F6D273FA0BC}" destId="{824A5A59-0E25-4794-B015-104EB7C5BCCB}" srcOrd="0" destOrd="0" presId="urn:microsoft.com/office/officeart/2005/8/layout/process4"/>
    <dgm:cxn modelId="{5F55AF5A-183C-4482-BCF4-698D57FDBFEE}" type="presParOf" srcId="{616F0CD2-5577-4DCD-AAED-3F6D273FA0BC}" destId="{CE238942-225A-4613-8ABD-27EC9AEE87C9}" srcOrd="1" destOrd="0" presId="urn:microsoft.com/office/officeart/2005/8/layout/process4"/>
    <dgm:cxn modelId="{A8B64E27-5CC4-4CE0-9347-2CBED1CF346B}" type="presParOf" srcId="{616F0CD2-5577-4DCD-AAED-3F6D273FA0BC}" destId="{AB0F66C8-CE03-4194-AAC0-90A6909DE1A5}" srcOrd="2" destOrd="0" presId="urn:microsoft.com/office/officeart/2005/8/layout/process4"/>
    <dgm:cxn modelId="{C29C19B5-4AC7-407D-A122-FE236AEE1A3E}" type="presParOf" srcId="{AB0F66C8-CE03-4194-AAC0-90A6909DE1A5}" destId="{F377B1A8-3F60-4D16-9A5F-D3BF19C83358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EEF5B72-0E8A-4C80-81CD-3C4C898F83BA}">
      <dsp:nvSpPr>
        <dsp:cNvPr id="0" name=""/>
        <dsp:cNvSpPr/>
      </dsp:nvSpPr>
      <dsp:spPr>
        <a:xfrm>
          <a:off x="0" y="15106"/>
          <a:ext cx="8928991" cy="531996"/>
        </a:xfrm>
        <a:prstGeom prst="roundRect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accent2"/>
          </a:solidFill>
          <a:prstDash val="solid"/>
        </a:ln>
        <a:effectLst>
          <a:outerShdw blurRad="40005" dist="20320" dir="5400000" algn="t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100000"/>
            </a:lnSpc>
            <a:spcBef>
              <a:spcPct val="0"/>
            </a:spcBef>
            <a:spcAft>
              <a:spcPts val="600"/>
            </a:spcAft>
          </a:pPr>
          <a:r>
            <a:rPr lang="ru-RU" sz="1500" kern="1200" dirty="0" smtClean="0">
              <a:solidFill>
                <a:schemeClr val="tx1"/>
              </a:solidFill>
            </a:rPr>
            <a:t>Федеральный закон от 26.03.2003 № 35 «Об электроэнергетике»</a:t>
          </a:r>
          <a:endParaRPr lang="ru-RU" sz="1500" kern="1200" dirty="0">
            <a:solidFill>
              <a:schemeClr val="tx1"/>
            </a:solidFill>
          </a:endParaRPr>
        </a:p>
      </dsp:txBody>
      <dsp:txXfrm>
        <a:off x="25970" y="41076"/>
        <a:ext cx="8877051" cy="480056"/>
      </dsp:txXfrm>
    </dsp:sp>
    <dsp:sp modelId="{0A79FD6B-A2C5-4F47-BD0A-A7C5D67D3AD5}">
      <dsp:nvSpPr>
        <dsp:cNvPr id="0" name=""/>
        <dsp:cNvSpPr/>
      </dsp:nvSpPr>
      <dsp:spPr>
        <a:xfrm>
          <a:off x="0" y="656542"/>
          <a:ext cx="8928991" cy="1943994"/>
        </a:xfrm>
        <a:prstGeom prst="roundRect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accent2"/>
          </a:solidFill>
          <a:prstDash val="solid"/>
        </a:ln>
        <a:effectLst>
          <a:outerShdw blurRad="40005" dist="20320" dir="5400000" algn="t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100000"/>
            </a:lnSpc>
            <a:spcBef>
              <a:spcPct val="0"/>
            </a:spcBef>
            <a:spcAft>
              <a:spcPts val="600"/>
            </a:spcAft>
          </a:pPr>
          <a:r>
            <a:rPr lang="ru-RU" sz="1500" kern="1200" dirty="0" smtClean="0">
              <a:solidFill>
                <a:schemeClr val="tx1"/>
              </a:solidFill>
            </a:rPr>
            <a:t>Постановление Правительства РФ от 27.12.2004 № 861 «Об утверждении Правил недискриминационного доступа к услугам по передаче электрической энергии и оказания этих услуг, Правил недискриминационного доступа к услугам по оперативно-диспетчерскому управлению в электроэнергетике и оказания этих услуг, Правил недискриминационного доступа к услугам администратора торговой системы оптового рынка и оказания этих услуг и Правил технологического присоединения энергопринимающих устройств потребителей электрической энергии, объектов по производству электрической энергии, а также объектов электросетевого хозяйства, принадлежащих сетевым организациям и иным лицам, к электрическим сетям»</a:t>
          </a:r>
          <a:endParaRPr lang="ru-RU" sz="1500" kern="1200" dirty="0">
            <a:solidFill>
              <a:schemeClr val="tx1"/>
            </a:solidFill>
          </a:endParaRPr>
        </a:p>
      </dsp:txBody>
      <dsp:txXfrm>
        <a:off x="94898" y="751440"/>
        <a:ext cx="8739195" cy="1754198"/>
      </dsp:txXfrm>
    </dsp:sp>
    <dsp:sp modelId="{52CAD632-93A1-4768-8615-76172CF32CFE}">
      <dsp:nvSpPr>
        <dsp:cNvPr id="0" name=""/>
        <dsp:cNvSpPr/>
      </dsp:nvSpPr>
      <dsp:spPr>
        <a:xfrm>
          <a:off x="0" y="2709977"/>
          <a:ext cx="8928991" cy="721190"/>
        </a:xfrm>
        <a:prstGeom prst="roundRect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accent2"/>
          </a:solidFill>
          <a:prstDash val="solid"/>
        </a:ln>
        <a:effectLst>
          <a:outerShdw blurRad="40005" dist="20320" dir="5400000" algn="t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100000"/>
            </a:lnSpc>
            <a:spcBef>
              <a:spcPct val="0"/>
            </a:spcBef>
            <a:spcAft>
              <a:spcPts val="600"/>
            </a:spcAft>
          </a:pPr>
          <a:r>
            <a:rPr lang="ru-RU" sz="1500" kern="1200" dirty="0" smtClean="0">
              <a:solidFill>
                <a:schemeClr val="tx1"/>
              </a:solidFill>
            </a:rPr>
            <a:t>Постановление Правительства РФ от 29.12.2011 № 1178 «О ценообразовании в области регулируемых цен (тарифов) в электроэнергетике»</a:t>
          </a:r>
          <a:endParaRPr lang="ru-RU" sz="1500" kern="1200" dirty="0">
            <a:solidFill>
              <a:schemeClr val="tx1"/>
            </a:solidFill>
          </a:endParaRPr>
        </a:p>
      </dsp:txBody>
      <dsp:txXfrm>
        <a:off x="35206" y="2745183"/>
        <a:ext cx="8858579" cy="650778"/>
      </dsp:txXfrm>
    </dsp:sp>
    <dsp:sp modelId="{B24385EA-2D6D-4EB3-9251-7EEDE63101AE}">
      <dsp:nvSpPr>
        <dsp:cNvPr id="0" name=""/>
        <dsp:cNvSpPr/>
      </dsp:nvSpPr>
      <dsp:spPr>
        <a:xfrm>
          <a:off x="0" y="3540607"/>
          <a:ext cx="8928991" cy="696637"/>
        </a:xfrm>
        <a:prstGeom prst="roundRect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accent2"/>
          </a:solidFill>
          <a:prstDash val="solid"/>
        </a:ln>
        <a:effectLst>
          <a:outerShdw blurRad="40005" dist="20320" dir="5400000" algn="t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100000"/>
            </a:lnSpc>
            <a:spcBef>
              <a:spcPct val="0"/>
            </a:spcBef>
            <a:spcAft>
              <a:spcPts val="600"/>
            </a:spcAft>
          </a:pPr>
          <a:r>
            <a:rPr lang="ru-RU" sz="1500" kern="1200" dirty="0" smtClean="0">
              <a:solidFill>
                <a:schemeClr val="tx1"/>
              </a:solidFill>
            </a:rPr>
            <a:t>Постановление Правительства РФ от 21.01.2004 № 24 «Об утверждении стандартов раскрытия информации субъектами оптового и розничных рынков электрической энергии»</a:t>
          </a:r>
          <a:endParaRPr lang="ru-RU" sz="1500" kern="1200" dirty="0">
            <a:solidFill>
              <a:schemeClr val="tx1"/>
            </a:solidFill>
          </a:endParaRPr>
        </a:p>
      </dsp:txBody>
      <dsp:txXfrm>
        <a:off x="34007" y="3574614"/>
        <a:ext cx="8860977" cy="628623"/>
      </dsp:txXfrm>
    </dsp:sp>
    <dsp:sp modelId="{02D02393-E28F-4441-9B8A-E25DF746C382}">
      <dsp:nvSpPr>
        <dsp:cNvPr id="0" name=""/>
        <dsp:cNvSpPr/>
      </dsp:nvSpPr>
      <dsp:spPr>
        <a:xfrm>
          <a:off x="0" y="4346685"/>
          <a:ext cx="8928991" cy="809602"/>
        </a:xfrm>
        <a:prstGeom prst="roundRect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accent2"/>
          </a:solidFill>
          <a:prstDash val="solid"/>
        </a:ln>
        <a:effectLst>
          <a:outerShdw blurRad="40005" dist="20320" dir="5400000" algn="t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100000"/>
            </a:lnSpc>
            <a:spcBef>
              <a:spcPct val="0"/>
            </a:spcBef>
            <a:spcAft>
              <a:spcPts val="600"/>
            </a:spcAft>
          </a:pPr>
          <a:r>
            <a:rPr lang="ru-RU" sz="1500" kern="1200" dirty="0" smtClean="0">
              <a:solidFill>
                <a:schemeClr val="tx1"/>
              </a:solidFill>
            </a:rPr>
            <a:t>Методические указания по определению размера платы за технологическое присоединение к электрическим сетям, утвержденные приказом Федеральной службы по тарифам </a:t>
          </a:r>
          <a:br>
            <a:rPr lang="ru-RU" sz="1500" kern="1200" dirty="0" smtClean="0">
              <a:solidFill>
                <a:schemeClr val="tx1"/>
              </a:solidFill>
            </a:rPr>
          </a:br>
          <a:r>
            <a:rPr lang="ru-RU" sz="1500" kern="1200" dirty="0" smtClean="0">
              <a:solidFill>
                <a:schemeClr val="tx1"/>
              </a:solidFill>
            </a:rPr>
            <a:t>от  11.09.2012 № 209-э/1</a:t>
          </a:r>
          <a:endParaRPr lang="ru-RU" sz="1500" kern="1200" dirty="0">
            <a:solidFill>
              <a:schemeClr val="tx1"/>
            </a:solidFill>
          </a:endParaRPr>
        </a:p>
      </dsp:txBody>
      <dsp:txXfrm>
        <a:off x="39522" y="4386207"/>
        <a:ext cx="8849947" cy="730558"/>
      </dsp:txXfrm>
    </dsp:sp>
    <dsp:sp modelId="{29B6A9A5-38D0-4AF9-A8B4-5831678AE31F}">
      <dsp:nvSpPr>
        <dsp:cNvPr id="0" name=""/>
        <dsp:cNvSpPr/>
      </dsp:nvSpPr>
      <dsp:spPr>
        <a:xfrm>
          <a:off x="0" y="5265727"/>
          <a:ext cx="8928991" cy="793783"/>
        </a:xfrm>
        <a:prstGeom prst="roundRect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accent2"/>
          </a:solidFill>
          <a:prstDash val="solid"/>
        </a:ln>
        <a:effectLst>
          <a:outerShdw blurRad="40005" dist="20320" dir="5400000" algn="t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100000"/>
            </a:lnSpc>
            <a:spcBef>
              <a:spcPct val="0"/>
            </a:spcBef>
            <a:spcAft>
              <a:spcPts val="600"/>
            </a:spcAft>
          </a:pPr>
          <a:r>
            <a:rPr lang="ru-RU" sz="1500" kern="1200" dirty="0" smtClean="0">
              <a:solidFill>
                <a:schemeClr val="tx1"/>
              </a:solidFill>
            </a:rPr>
            <a:t>Методические указания по определению выпадающих доходов, связанных с осуществлением технологического присоединения к электрическим сетям, утвержденные приказом Федеральной службы по тарифам от 11.09.2014 № 215-э/1</a:t>
          </a:r>
          <a:endParaRPr lang="ru-RU" sz="1500" kern="1200" dirty="0">
            <a:solidFill>
              <a:schemeClr val="tx1"/>
            </a:solidFill>
          </a:endParaRPr>
        </a:p>
      </dsp:txBody>
      <dsp:txXfrm>
        <a:off x="38749" y="5304476"/>
        <a:ext cx="8851493" cy="71628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BE525B-B233-4675-B40B-7DA7796641D7}">
      <dsp:nvSpPr>
        <dsp:cNvPr id="0" name=""/>
        <dsp:cNvSpPr/>
      </dsp:nvSpPr>
      <dsp:spPr>
        <a:xfrm>
          <a:off x="5791776" y="2462339"/>
          <a:ext cx="359648" cy="320968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09684"/>
              </a:lnTo>
              <a:lnTo>
                <a:pt x="359648" y="3209684"/>
              </a:lnTo>
            </a:path>
          </a:pathLst>
        </a:custGeom>
        <a:noFill/>
        <a:ln w="254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ED43F32-90FF-4FC7-927D-6E0343051069}">
      <dsp:nvSpPr>
        <dsp:cNvPr id="0" name=""/>
        <dsp:cNvSpPr/>
      </dsp:nvSpPr>
      <dsp:spPr>
        <a:xfrm>
          <a:off x="5791776" y="2462339"/>
          <a:ext cx="359648" cy="250248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02482"/>
              </a:lnTo>
              <a:lnTo>
                <a:pt x="359648" y="2502482"/>
              </a:lnTo>
            </a:path>
          </a:pathLst>
        </a:custGeom>
        <a:noFill/>
        <a:ln w="254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A8F71E-A93A-4882-8CF5-D20809E91474}">
      <dsp:nvSpPr>
        <dsp:cNvPr id="0" name=""/>
        <dsp:cNvSpPr/>
      </dsp:nvSpPr>
      <dsp:spPr>
        <a:xfrm>
          <a:off x="5791776" y="2462339"/>
          <a:ext cx="359648" cy="18140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14055"/>
              </a:lnTo>
              <a:lnTo>
                <a:pt x="359648" y="1814055"/>
              </a:lnTo>
            </a:path>
          </a:pathLst>
        </a:custGeom>
        <a:noFill/>
        <a:ln w="254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548FEE-711C-4245-9E1A-82B2426E9B35}">
      <dsp:nvSpPr>
        <dsp:cNvPr id="0" name=""/>
        <dsp:cNvSpPr/>
      </dsp:nvSpPr>
      <dsp:spPr>
        <a:xfrm>
          <a:off x="5791776" y="2462339"/>
          <a:ext cx="359648" cy="112562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25628"/>
              </a:lnTo>
              <a:lnTo>
                <a:pt x="359648" y="1125628"/>
              </a:lnTo>
            </a:path>
          </a:pathLst>
        </a:custGeom>
        <a:noFill/>
        <a:ln w="254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F306F51-C4BF-417A-A29A-6C8A69EFB12D}">
      <dsp:nvSpPr>
        <dsp:cNvPr id="0" name=""/>
        <dsp:cNvSpPr/>
      </dsp:nvSpPr>
      <dsp:spPr>
        <a:xfrm>
          <a:off x="5791776" y="2462339"/>
          <a:ext cx="359648" cy="43720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37201"/>
              </a:lnTo>
              <a:lnTo>
                <a:pt x="359648" y="437201"/>
              </a:lnTo>
            </a:path>
          </a:pathLst>
        </a:custGeom>
        <a:noFill/>
        <a:ln w="25400" cap="flat" cmpd="sng" algn="ctr">
          <a:solidFill>
            <a:schemeClr val="accent2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24BA79-C4E6-4472-89AD-52C5E82983A1}">
      <dsp:nvSpPr>
        <dsp:cNvPr id="0" name=""/>
        <dsp:cNvSpPr/>
      </dsp:nvSpPr>
      <dsp:spPr>
        <a:xfrm>
          <a:off x="6141499" y="1804036"/>
          <a:ext cx="609339" cy="18597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2987"/>
              </a:lnTo>
              <a:lnTo>
                <a:pt x="609339" y="92987"/>
              </a:lnTo>
              <a:lnTo>
                <a:pt x="609339" y="185975"/>
              </a:lnTo>
            </a:path>
          </a:pathLst>
        </a:custGeom>
        <a:noFill/>
        <a:ln w="25400" cap="flat" cmpd="sng" algn="ctr">
          <a:solidFill>
            <a:schemeClr val="accent2">
              <a:tint val="7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E0F1E0-111D-4E88-8F5B-61DCFDF12B54}">
      <dsp:nvSpPr>
        <dsp:cNvPr id="0" name=""/>
        <dsp:cNvSpPr/>
      </dsp:nvSpPr>
      <dsp:spPr>
        <a:xfrm>
          <a:off x="4413040" y="1804036"/>
          <a:ext cx="1728458" cy="185975"/>
        </a:xfrm>
        <a:custGeom>
          <a:avLst/>
          <a:gdLst/>
          <a:ahLst/>
          <a:cxnLst/>
          <a:rect l="0" t="0" r="0" b="0"/>
          <a:pathLst>
            <a:path>
              <a:moveTo>
                <a:pt x="1728458" y="0"/>
              </a:moveTo>
              <a:lnTo>
                <a:pt x="1728458" y="92987"/>
              </a:lnTo>
              <a:lnTo>
                <a:pt x="0" y="92987"/>
              </a:lnTo>
              <a:lnTo>
                <a:pt x="0" y="185975"/>
              </a:lnTo>
            </a:path>
          </a:pathLst>
        </a:custGeom>
        <a:noFill/>
        <a:ln w="25400" cap="flat" cmpd="sng" algn="ctr">
          <a:solidFill>
            <a:schemeClr val="accent2">
              <a:tint val="7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A96FD0E-FE29-4951-8F1E-C8DBD9028AE2}">
      <dsp:nvSpPr>
        <dsp:cNvPr id="0" name=""/>
        <dsp:cNvSpPr/>
      </dsp:nvSpPr>
      <dsp:spPr>
        <a:xfrm>
          <a:off x="3957765" y="863112"/>
          <a:ext cx="2183733" cy="3169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3936"/>
              </a:lnTo>
              <a:lnTo>
                <a:pt x="2183733" y="223936"/>
              </a:lnTo>
              <a:lnTo>
                <a:pt x="2183733" y="316923"/>
              </a:lnTo>
            </a:path>
          </a:pathLst>
        </a:custGeom>
        <a:noFill/>
        <a:ln w="254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835613-AEC6-467C-9E0E-35961AB3FCDC}">
      <dsp:nvSpPr>
        <dsp:cNvPr id="0" name=""/>
        <dsp:cNvSpPr/>
      </dsp:nvSpPr>
      <dsp:spPr>
        <a:xfrm>
          <a:off x="312000" y="1804036"/>
          <a:ext cx="198451" cy="37503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50325"/>
              </a:lnTo>
              <a:lnTo>
                <a:pt x="198451" y="3750325"/>
              </a:lnTo>
            </a:path>
          </a:pathLst>
        </a:custGeom>
        <a:noFill/>
        <a:ln w="25400" cap="flat" cmpd="sng" algn="ctr">
          <a:solidFill>
            <a:schemeClr val="accent2">
              <a:tint val="7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94683F6-4A25-445E-8475-094BC485739B}">
      <dsp:nvSpPr>
        <dsp:cNvPr id="0" name=""/>
        <dsp:cNvSpPr/>
      </dsp:nvSpPr>
      <dsp:spPr>
        <a:xfrm>
          <a:off x="312000" y="1804036"/>
          <a:ext cx="198451" cy="25415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41551"/>
              </a:lnTo>
              <a:lnTo>
                <a:pt x="198451" y="2541551"/>
              </a:lnTo>
            </a:path>
          </a:pathLst>
        </a:custGeom>
        <a:noFill/>
        <a:ln w="25400" cap="flat" cmpd="sng" algn="ctr">
          <a:solidFill>
            <a:schemeClr val="accent2">
              <a:tint val="7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00F91B0-A13F-4314-A0F3-5E596104580D}">
      <dsp:nvSpPr>
        <dsp:cNvPr id="0" name=""/>
        <dsp:cNvSpPr/>
      </dsp:nvSpPr>
      <dsp:spPr>
        <a:xfrm>
          <a:off x="312000" y="1804036"/>
          <a:ext cx="198451" cy="137792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77928"/>
              </a:lnTo>
              <a:lnTo>
                <a:pt x="198451" y="1377928"/>
              </a:lnTo>
            </a:path>
          </a:pathLst>
        </a:custGeom>
        <a:noFill/>
        <a:ln w="25400" cap="flat" cmpd="sng" algn="ctr">
          <a:solidFill>
            <a:schemeClr val="accent2">
              <a:tint val="7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C9C071-24A8-4827-8B33-3398A8C731BA}">
      <dsp:nvSpPr>
        <dsp:cNvPr id="0" name=""/>
        <dsp:cNvSpPr/>
      </dsp:nvSpPr>
      <dsp:spPr>
        <a:xfrm>
          <a:off x="312000" y="1804036"/>
          <a:ext cx="198451" cy="5087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08733"/>
              </a:lnTo>
              <a:lnTo>
                <a:pt x="198451" y="508733"/>
              </a:lnTo>
            </a:path>
          </a:pathLst>
        </a:custGeom>
        <a:noFill/>
        <a:ln w="25400" cap="flat" cmpd="sng" algn="ctr">
          <a:solidFill>
            <a:schemeClr val="accent2">
              <a:tint val="7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7127933-1B61-4E75-8A6A-A707D302D783}">
      <dsp:nvSpPr>
        <dsp:cNvPr id="0" name=""/>
        <dsp:cNvSpPr/>
      </dsp:nvSpPr>
      <dsp:spPr>
        <a:xfrm>
          <a:off x="1560000" y="863112"/>
          <a:ext cx="2397765" cy="316923"/>
        </a:xfrm>
        <a:custGeom>
          <a:avLst/>
          <a:gdLst/>
          <a:ahLst/>
          <a:cxnLst/>
          <a:rect l="0" t="0" r="0" b="0"/>
          <a:pathLst>
            <a:path>
              <a:moveTo>
                <a:pt x="2397765" y="0"/>
              </a:moveTo>
              <a:lnTo>
                <a:pt x="2397765" y="223936"/>
              </a:lnTo>
              <a:lnTo>
                <a:pt x="0" y="223936"/>
              </a:lnTo>
              <a:lnTo>
                <a:pt x="0" y="316923"/>
              </a:lnTo>
            </a:path>
          </a:pathLst>
        </a:custGeom>
        <a:noFill/>
        <a:ln w="25400" cap="flat" cmpd="sng" algn="ctr">
          <a:solidFill>
            <a:schemeClr val="accent2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366E58-9117-4B9C-B778-0E7360BF0F23}">
      <dsp:nvSpPr>
        <dsp:cNvPr id="0" name=""/>
        <dsp:cNvSpPr/>
      </dsp:nvSpPr>
      <dsp:spPr>
        <a:xfrm>
          <a:off x="2367885" y="1643"/>
          <a:ext cx="3179760" cy="861468"/>
        </a:xfrm>
        <a:prstGeom prst="rect">
          <a:avLst/>
        </a:prstGeom>
        <a:solidFill>
          <a:schemeClr val="accent2">
            <a:lumMod val="20000"/>
            <a:lumOff val="80000"/>
          </a:schemeClr>
        </a:solidFill>
        <a:ln w="9525" cap="flat" cmpd="sng" algn="ctr">
          <a:solidFill>
            <a:schemeClr val="accent2">
              <a:lumMod val="75000"/>
            </a:schemeClr>
          </a:solidFill>
          <a:prstDash val="solid"/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0" kern="1200" dirty="0" smtClean="0">
              <a:solidFill>
                <a:schemeClr val="tx1"/>
              </a:solidFill>
              <a:effectLst/>
            </a:rPr>
            <a:t>Плата за технологическое присоединение</a:t>
          </a:r>
          <a:endParaRPr lang="ru-RU" sz="1600" b="1" i="0" kern="1200" dirty="0">
            <a:solidFill>
              <a:schemeClr val="tx1"/>
            </a:solidFill>
            <a:effectLst/>
          </a:endParaRPr>
        </a:p>
      </dsp:txBody>
      <dsp:txXfrm>
        <a:off x="2367885" y="1643"/>
        <a:ext cx="3179760" cy="861468"/>
      </dsp:txXfrm>
    </dsp:sp>
    <dsp:sp modelId="{B3660C43-1E63-4365-B4EA-A3E64D49A6EC}">
      <dsp:nvSpPr>
        <dsp:cNvPr id="0" name=""/>
        <dsp:cNvSpPr/>
      </dsp:nvSpPr>
      <dsp:spPr>
        <a:xfrm>
          <a:off x="0" y="1180036"/>
          <a:ext cx="3120000" cy="624000"/>
        </a:xfrm>
        <a:prstGeom prst="rect">
          <a:avLst/>
        </a:prstGeom>
        <a:solidFill>
          <a:srgbClr val="EEE7FF"/>
        </a:solidFill>
        <a:ln w="9525" cap="flat" cmpd="sng" algn="ctr">
          <a:solidFill>
            <a:schemeClr val="accent2">
              <a:lumMod val="75000"/>
            </a:schemeClr>
          </a:solidFill>
          <a:prstDash val="solid"/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tx1"/>
              </a:solidFill>
            </a:rPr>
            <a:t>Организационно-технические мероприятия («чернила»)</a:t>
          </a:r>
          <a:endParaRPr lang="ru-RU" sz="1400" kern="1200" dirty="0">
            <a:solidFill>
              <a:schemeClr val="tx1"/>
            </a:solidFill>
          </a:endParaRPr>
        </a:p>
      </dsp:txBody>
      <dsp:txXfrm>
        <a:off x="0" y="1180036"/>
        <a:ext cx="3120000" cy="624000"/>
      </dsp:txXfrm>
    </dsp:sp>
    <dsp:sp modelId="{8B4290D6-9B95-43B7-9A11-6B51DAB394F3}">
      <dsp:nvSpPr>
        <dsp:cNvPr id="0" name=""/>
        <dsp:cNvSpPr/>
      </dsp:nvSpPr>
      <dsp:spPr>
        <a:xfrm>
          <a:off x="510451" y="1990011"/>
          <a:ext cx="2632045" cy="645515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bg2"/>
          </a:solidFill>
          <a:prstDash val="solid"/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chemeClr val="tx1"/>
              </a:solidFill>
            </a:rPr>
            <a:t>Подготовка и выдача сетевой организацией технических условий Заявителю</a:t>
          </a:r>
          <a:endParaRPr lang="ru-RU" sz="1300" kern="1200" dirty="0">
            <a:solidFill>
              <a:schemeClr val="tx1"/>
            </a:solidFill>
          </a:endParaRPr>
        </a:p>
      </dsp:txBody>
      <dsp:txXfrm>
        <a:off x="510451" y="1990011"/>
        <a:ext cx="2632045" cy="645515"/>
      </dsp:txXfrm>
    </dsp:sp>
    <dsp:sp modelId="{34D5728F-09C0-4B14-AC05-9BBCBABFF3D5}">
      <dsp:nvSpPr>
        <dsp:cNvPr id="0" name=""/>
        <dsp:cNvSpPr/>
      </dsp:nvSpPr>
      <dsp:spPr>
        <a:xfrm>
          <a:off x="510451" y="2841534"/>
          <a:ext cx="2636110" cy="680859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bg2"/>
          </a:solidFill>
          <a:prstDash val="solid"/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chemeClr val="tx1"/>
              </a:solidFill>
            </a:rPr>
            <a:t>Проверка сетевой организацией выполнения Заявителем технических условий</a:t>
          </a:r>
          <a:endParaRPr lang="ru-RU" sz="1300" kern="1200" dirty="0">
            <a:solidFill>
              <a:schemeClr val="tx1"/>
            </a:solidFill>
          </a:endParaRPr>
        </a:p>
      </dsp:txBody>
      <dsp:txXfrm>
        <a:off x="510451" y="2841534"/>
        <a:ext cx="2636110" cy="680859"/>
      </dsp:txXfrm>
    </dsp:sp>
    <dsp:sp modelId="{F78CA9D4-706A-44B3-AD8F-1AC89C5A27DB}">
      <dsp:nvSpPr>
        <dsp:cNvPr id="0" name=""/>
        <dsp:cNvSpPr/>
      </dsp:nvSpPr>
      <dsp:spPr>
        <a:xfrm>
          <a:off x="510451" y="3751586"/>
          <a:ext cx="2636110" cy="1188001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bg2"/>
          </a:solidFill>
          <a:prstDash val="solid"/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chemeClr val="tx1"/>
              </a:solidFill>
            </a:rPr>
            <a:t>Участие сетевой организации в осмотре должностным лицом органа федерального </a:t>
          </a:r>
          <a:r>
            <a:rPr lang="ru-RU" sz="1300" kern="1200" dirty="0" err="1" smtClean="0">
              <a:solidFill>
                <a:schemeClr val="tx1"/>
              </a:solidFill>
            </a:rPr>
            <a:t>госэнергонадзора</a:t>
          </a:r>
          <a:r>
            <a:rPr lang="ru-RU" sz="1300" kern="1200" dirty="0" smtClean="0">
              <a:solidFill>
                <a:schemeClr val="tx1"/>
              </a:solidFill>
            </a:rPr>
            <a:t> присоединяемых Устройств Заявителя</a:t>
          </a:r>
          <a:endParaRPr lang="ru-RU" sz="1300" kern="1200" dirty="0">
            <a:solidFill>
              <a:schemeClr val="tx1"/>
            </a:solidFill>
          </a:endParaRPr>
        </a:p>
      </dsp:txBody>
      <dsp:txXfrm>
        <a:off x="510451" y="3751586"/>
        <a:ext cx="2636110" cy="1188001"/>
      </dsp:txXfrm>
    </dsp:sp>
    <dsp:sp modelId="{50F39823-70CA-4040-B7FD-8BF523D3755F}">
      <dsp:nvSpPr>
        <dsp:cNvPr id="0" name=""/>
        <dsp:cNvSpPr/>
      </dsp:nvSpPr>
      <dsp:spPr>
        <a:xfrm>
          <a:off x="510451" y="5158361"/>
          <a:ext cx="2636110" cy="792002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bg2"/>
          </a:solidFill>
          <a:prstDash val="solid"/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chemeClr val="tx1"/>
              </a:solidFill>
            </a:rPr>
            <a:t>Фактические действия по присоединению и обеспечению работы Устройств в электрической сети</a:t>
          </a:r>
          <a:endParaRPr lang="ru-RU" sz="1300" kern="1200" dirty="0">
            <a:solidFill>
              <a:schemeClr val="tx1"/>
            </a:solidFill>
          </a:endParaRPr>
        </a:p>
      </dsp:txBody>
      <dsp:txXfrm>
        <a:off x="510451" y="5158361"/>
        <a:ext cx="2636110" cy="792002"/>
      </dsp:txXfrm>
    </dsp:sp>
    <dsp:sp modelId="{126F5AB8-B384-48FC-BACB-917446FD0B05}">
      <dsp:nvSpPr>
        <dsp:cNvPr id="0" name=""/>
        <dsp:cNvSpPr/>
      </dsp:nvSpPr>
      <dsp:spPr>
        <a:xfrm>
          <a:off x="4581498" y="1180036"/>
          <a:ext cx="3120000" cy="624000"/>
        </a:xfrm>
        <a:prstGeom prst="rect">
          <a:avLst/>
        </a:prstGeom>
        <a:solidFill>
          <a:srgbClr val="EEE7FF"/>
        </a:solidFill>
        <a:ln w="9525" cap="flat" cmpd="sng" algn="ctr">
          <a:solidFill>
            <a:schemeClr val="accent2">
              <a:lumMod val="75000"/>
            </a:schemeClr>
          </a:solidFill>
          <a:prstDash val="solid"/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tx1"/>
              </a:solidFill>
            </a:rPr>
            <a:t>Мероприятия «последней мили»</a:t>
          </a:r>
          <a:endParaRPr lang="ru-RU" sz="1400" kern="1200" dirty="0">
            <a:solidFill>
              <a:schemeClr val="tx1"/>
            </a:solidFill>
          </a:endParaRPr>
        </a:p>
      </dsp:txBody>
      <dsp:txXfrm>
        <a:off x="4581498" y="1180036"/>
        <a:ext cx="3120000" cy="624000"/>
      </dsp:txXfrm>
    </dsp:sp>
    <dsp:sp modelId="{8674073C-C6D7-448A-B063-DF2C9F184737}">
      <dsp:nvSpPr>
        <dsp:cNvPr id="0" name=""/>
        <dsp:cNvSpPr/>
      </dsp:nvSpPr>
      <dsp:spPr>
        <a:xfrm>
          <a:off x="3529680" y="1990011"/>
          <a:ext cx="1766720" cy="470477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bg2"/>
          </a:solidFill>
          <a:prstDash val="solid"/>
        </a:ln>
        <a:effectLst>
          <a:outerShdw blurRad="40005" dist="20320" dir="5400000" algn="t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chemeClr val="tx1"/>
              </a:solidFill>
            </a:rPr>
            <a:t>Проектная документация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3529680" y="1990011"/>
        <a:ext cx="1766720" cy="470477"/>
      </dsp:txXfrm>
    </dsp:sp>
    <dsp:sp modelId="{1D0CE523-1BF0-41F3-B846-98E4C203C4D4}">
      <dsp:nvSpPr>
        <dsp:cNvPr id="0" name=""/>
        <dsp:cNvSpPr/>
      </dsp:nvSpPr>
      <dsp:spPr>
        <a:xfrm>
          <a:off x="5552010" y="1990011"/>
          <a:ext cx="2397654" cy="472328"/>
        </a:xfrm>
        <a:prstGeom prst="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bg2"/>
          </a:solidFill>
          <a:prstDash val="solid"/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chemeClr val="tx1"/>
              </a:solidFill>
            </a:rPr>
            <a:t>Новое строительство</a:t>
          </a:r>
          <a:endParaRPr lang="ru-RU" sz="1300" kern="1200" dirty="0">
            <a:solidFill>
              <a:schemeClr val="tx1"/>
            </a:solidFill>
          </a:endParaRPr>
        </a:p>
      </dsp:txBody>
      <dsp:txXfrm>
        <a:off x="5552010" y="1990011"/>
        <a:ext cx="2397654" cy="472328"/>
      </dsp:txXfrm>
    </dsp:sp>
    <dsp:sp modelId="{3D8CF0B5-EEEA-4C63-A0E6-9D523AD693A1}">
      <dsp:nvSpPr>
        <dsp:cNvPr id="0" name=""/>
        <dsp:cNvSpPr/>
      </dsp:nvSpPr>
      <dsp:spPr>
        <a:xfrm>
          <a:off x="6151424" y="2648315"/>
          <a:ext cx="2776273" cy="502451"/>
        </a:xfrm>
        <a:prstGeom prst="rect">
          <a:avLst/>
        </a:prstGeom>
        <a:solidFill>
          <a:schemeClr val="bg2">
            <a:lumMod val="20000"/>
            <a:lumOff val="80000"/>
          </a:schemeClr>
        </a:solidFill>
        <a:ln w="9525" cap="flat" cmpd="sng" algn="ctr">
          <a:solidFill>
            <a:schemeClr val="bg2"/>
          </a:solidFill>
          <a:prstDash val="solid"/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</a:rPr>
            <a:t>строительство воздушных линий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6151424" y="2648315"/>
        <a:ext cx="2776273" cy="502451"/>
      </dsp:txXfrm>
    </dsp:sp>
    <dsp:sp modelId="{52A9E198-4443-4933-8EB1-AE44E0A7DA4B}">
      <dsp:nvSpPr>
        <dsp:cNvPr id="0" name=""/>
        <dsp:cNvSpPr/>
      </dsp:nvSpPr>
      <dsp:spPr>
        <a:xfrm>
          <a:off x="6151424" y="3336742"/>
          <a:ext cx="2776273" cy="502451"/>
        </a:xfrm>
        <a:prstGeom prst="rect">
          <a:avLst/>
        </a:prstGeom>
        <a:solidFill>
          <a:schemeClr val="bg2">
            <a:lumMod val="20000"/>
            <a:lumOff val="80000"/>
          </a:schemeClr>
        </a:solidFill>
        <a:ln w="9525" cap="flat" cmpd="sng" algn="ctr">
          <a:solidFill>
            <a:schemeClr val="bg2"/>
          </a:solidFill>
          <a:prstDash val="solid"/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</a:rPr>
            <a:t>строительство кабельных линий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6151424" y="3336742"/>
        <a:ext cx="2776273" cy="502451"/>
      </dsp:txXfrm>
    </dsp:sp>
    <dsp:sp modelId="{7C90035B-E015-438D-BBBA-816985B75791}">
      <dsp:nvSpPr>
        <dsp:cNvPr id="0" name=""/>
        <dsp:cNvSpPr/>
      </dsp:nvSpPr>
      <dsp:spPr>
        <a:xfrm>
          <a:off x="6151424" y="4025169"/>
          <a:ext cx="2776273" cy="502451"/>
        </a:xfrm>
        <a:prstGeom prst="rect">
          <a:avLst/>
        </a:prstGeom>
        <a:solidFill>
          <a:schemeClr val="bg2">
            <a:lumMod val="20000"/>
            <a:lumOff val="80000"/>
          </a:schemeClr>
        </a:solidFill>
        <a:ln w="9525" cap="flat" cmpd="sng" algn="ctr">
          <a:solidFill>
            <a:schemeClr val="bg2"/>
          </a:solidFill>
          <a:prstDash val="solid"/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</a:rPr>
            <a:t>строительство пунктов секционирования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6151424" y="4025169"/>
        <a:ext cx="2776273" cy="502451"/>
      </dsp:txXfrm>
    </dsp:sp>
    <dsp:sp modelId="{D34643E6-13F7-4D4E-9D5A-996AC4E37620}">
      <dsp:nvSpPr>
        <dsp:cNvPr id="0" name=""/>
        <dsp:cNvSpPr/>
      </dsp:nvSpPr>
      <dsp:spPr>
        <a:xfrm>
          <a:off x="6151424" y="4713596"/>
          <a:ext cx="2776273" cy="502451"/>
        </a:xfrm>
        <a:prstGeom prst="rect">
          <a:avLst/>
        </a:prstGeom>
        <a:solidFill>
          <a:schemeClr val="bg2">
            <a:lumMod val="20000"/>
            <a:lumOff val="80000"/>
          </a:schemeClr>
        </a:solidFill>
        <a:ln w="9525" cap="flat" cmpd="sng" algn="ctr">
          <a:solidFill>
            <a:schemeClr val="bg2"/>
          </a:solidFill>
          <a:prstDash val="solid"/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</a:rPr>
            <a:t>строительство КТП, РТП с уровнем напряжения до 35 </a:t>
          </a:r>
          <a:r>
            <a:rPr lang="ru-RU" sz="1200" kern="1200" dirty="0" err="1" smtClean="0">
              <a:solidFill>
                <a:schemeClr val="tx1"/>
              </a:solidFill>
            </a:rPr>
            <a:t>кВ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6151424" y="4713596"/>
        <a:ext cx="2776273" cy="502451"/>
      </dsp:txXfrm>
    </dsp:sp>
    <dsp:sp modelId="{0107A703-235B-40E9-97C0-3664F4CFD3B0}">
      <dsp:nvSpPr>
        <dsp:cNvPr id="0" name=""/>
        <dsp:cNvSpPr/>
      </dsp:nvSpPr>
      <dsp:spPr>
        <a:xfrm>
          <a:off x="6151424" y="5402024"/>
          <a:ext cx="2776273" cy="540001"/>
        </a:xfrm>
        <a:prstGeom prst="rect">
          <a:avLst/>
        </a:prstGeom>
        <a:solidFill>
          <a:schemeClr val="bg2">
            <a:lumMod val="20000"/>
            <a:lumOff val="80000"/>
          </a:schemeClr>
        </a:solidFill>
        <a:ln w="9525" cap="flat" cmpd="sng" algn="ctr">
          <a:solidFill>
            <a:schemeClr val="bg2"/>
          </a:solidFill>
          <a:prstDash val="solid"/>
        </a:ln>
        <a:effectLst>
          <a:outerShdw blurRad="40005" dist="20320" dir="54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</a:rPr>
            <a:t>строительство центров питания, подстанций уровнем напряжения 35 </a:t>
          </a:r>
          <a:r>
            <a:rPr lang="ru-RU" sz="1200" kern="1200" dirty="0" err="1" smtClean="0">
              <a:solidFill>
                <a:schemeClr val="tx1"/>
              </a:solidFill>
            </a:rPr>
            <a:t>кВ</a:t>
          </a:r>
          <a:r>
            <a:rPr lang="ru-RU" sz="1200" kern="1200" dirty="0" smtClean="0">
              <a:solidFill>
                <a:schemeClr val="tx1"/>
              </a:solidFill>
            </a:rPr>
            <a:t> и выше</a:t>
          </a:r>
          <a:endParaRPr lang="ru-RU" sz="1200" kern="1200" dirty="0">
            <a:solidFill>
              <a:schemeClr val="tx1"/>
            </a:solidFill>
          </a:endParaRPr>
        </a:p>
      </dsp:txBody>
      <dsp:txXfrm>
        <a:off x="6151424" y="5402024"/>
        <a:ext cx="2776273" cy="54000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930597-A459-4386-9D5D-D5710C5A50D3}">
      <dsp:nvSpPr>
        <dsp:cNvPr id="0" name=""/>
        <dsp:cNvSpPr/>
      </dsp:nvSpPr>
      <dsp:spPr>
        <a:xfrm>
          <a:off x="0" y="1299519"/>
          <a:ext cx="4176464" cy="1724816"/>
        </a:xfrm>
        <a:prstGeom prst="rect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accent2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chemeClr val="tx1"/>
              </a:solidFill>
            </a:rPr>
            <a:t>Расчет платы </a:t>
          </a:r>
          <a:br>
            <a:rPr lang="ru-RU" sz="1800" kern="1200" dirty="0" smtClean="0">
              <a:solidFill>
                <a:schemeClr val="tx1"/>
              </a:solidFill>
            </a:rPr>
          </a:br>
          <a:r>
            <a:rPr lang="ru-RU" sz="1800" kern="1200" dirty="0" smtClean="0">
              <a:solidFill>
                <a:schemeClr val="tx1"/>
              </a:solidFill>
            </a:rPr>
            <a:t>по индивидуальному проекту</a:t>
          </a:r>
          <a:endParaRPr lang="ru-RU" sz="1800" kern="1200" dirty="0">
            <a:solidFill>
              <a:schemeClr val="tx1"/>
            </a:solidFill>
          </a:endParaRPr>
        </a:p>
      </dsp:txBody>
      <dsp:txXfrm>
        <a:off x="0" y="1299519"/>
        <a:ext cx="4176464" cy="931400"/>
      </dsp:txXfrm>
    </dsp:sp>
    <dsp:sp modelId="{60FEA646-E51A-433C-A5A9-F6A111B64A0D}">
      <dsp:nvSpPr>
        <dsp:cNvPr id="0" name=""/>
        <dsp:cNvSpPr/>
      </dsp:nvSpPr>
      <dsp:spPr>
        <a:xfrm>
          <a:off x="0" y="2176142"/>
          <a:ext cx="4176464" cy="848193"/>
        </a:xfrm>
        <a:prstGeom prst="rect">
          <a:avLst/>
        </a:prstGeom>
        <a:solidFill>
          <a:schemeClr val="bg1">
            <a:lumMod val="95000"/>
            <a:alpha val="90000"/>
          </a:schemeClr>
        </a:solidFill>
        <a:ln w="12700" cap="flat" cmpd="sng" algn="ctr">
          <a:solidFill>
            <a:schemeClr val="accent2">
              <a:alpha val="9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в отношении конкретного Заявителя плата утверждается уполномоченным органом исполнительной власти в области государственного регулирования тарифов</a:t>
          </a:r>
          <a:endParaRPr lang="ru-RU" sz="1400" kern="1200" dirty="0"/>
        </a:p>
      </dsp:txBody>
      <dsp:txXfrm>
        <a:off x="0" y="2176142"/>
        <a:ext cx="4176464" cy="848193"/>
      </dsp:txXfrm>
    </dsp:sp>
    <dsp:sp modelId="{5502ED1A-694B-4321-BAB4-71D1F3FD6C75}">
      <dsp:nvSpPr>
        <dsp:cNvPr id="0" name=""/>
        <dsp:cNvSpPr/>
      </dsp:nvSpPr>
      <dsp:spPr>
        <a:xfrm rot="10800000">
          <a:off x="0" y="7"/>
          <a:ext cx="4176464" cy="1322988"/>
        </a:xfrm>
        <a:prstGeom prst="upArrowCallout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accent2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chemeClr val="tx1"/>
              </a:solidFill>
            </a:rPr>
            <a:t>Отсутствует</a:t>
          </a:r>
          <a:r>
            <a:rPr lang="ru-RU" sz="2000" kern="1200" dirty="0" smtClean="0">
              <a:solidFill>
                <a:schemeClr val="tx1"/>
              </a:solidFill>
            </a:rPr>
            <a:t> </a:t>
          </a:r>
          <a:br>
            <a:rPr lang="ru-RU" sz="2000" kern="1200" dirty="0" smtClean="0">
              <a:solidFill>
                <a:schemeClr val="tx1"/>
              </a:solidFill>
            </a:rPr>
          </a:br>
          <a:r>
            <a:rPr lang="ru-RU" sz="2000" kern="1200" dirty="0" smtClean="0">
              <a:solidFill>
                <a:schemeClr val="tx1"/>
              </a:solidFill>
            </a:rPr>
            <a:t>техническая возможность ТП</a:t>
          </a:r>
          <a:endParaRPr lang="ru-RU" sz="2000" kern="1200" dirty="0">
            <a:solidFill>
              <a:schemeClr val="tx1"/>
            </a:solidFill>
          </a:endParaRPr>
        </a:p>
      </dsp:txBody>
      <dsp:txXfrm rot="10800000">
        <a:off x="0" y="7"/>
        <a:ext cx="4176464" cy="85963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093E3A-E84D-4379-9E63-350EB0C3972D}">
      <dsp:nvSpPr>
        <dsp:cNvPr id="0" name=""/>
        <dsp:cNvSpPr/>
      </dsp:nvSpPr>
      <dsp:spPr>
        <a:xfrm>
          <a:off x="0" y="2658775"/>
          <a:ext cx="3960439" cy="1373362"/>
        </a:xfrm>
        <a:prstGeom prst="rect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accent2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solidFill>
                <a:schemeClr val="tx1"/>
              </a:solidFill>
            </a:rPr>
            <a:t>Заявитель вправе на стадии заключения договора самостоятельно выбрать вид ставки платы </a:t>
          </a:r>
          <a:endParaRPr lang="ru-RU" sz="1600" kern="1200" dirty="0">
            <a:solidFill>
              <a:schemeClr val="tx1"/>
            </a:solidFill>
          </a:endParaRPr>
        </a:p>
      </dsp:txBody>
      <dsp:txXfrm>
        <a:off x="0" y="2658775"/>
        <a:ext cx="3960439" cy="741615"/>
      </dsp:txXfrm>
    </dsp:sp>
    <dsp:sp modelId="{AE5C55CC-3DFA-41F3-B086-42526911F1EE}">
      <dsp:nvSpPr>
        <dsp:cNvPr id="0" name=""/>
        <dsp:cNvSpPr/>
      </dsp:nvSpPr>
      <dsp:spPr>
        <a:xfrm>
          <a:off x="0" y="3481766"/>
          <a:ext cx="1980219" cy="550681"/>
        </a:xfrm>
        <a:prstGeom prst="rect">
          <a:avLst/>
        </a:prstGeom>
        <a:solidFill>
          <a:schemeClr val="bg1">
            <a:lumMod val="95000"/>
            <a:alpha val="90000"/>
          </a:schemeClr>
        </a:solidFill>
        <a:ln w="12700" cap="flat" cmpd="sng" algn="ctr">
          <a:solidFill>
            <a:schemeClr val="accent2">
              <a:alpha val="9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стандартизированные тарифные ставки</a:t>
          </a:r>
          <a:endParaRPr lang="ru-RU" sz="1300" kern="1200" dirty="0"/>
        </a:p>
      </dsp:txBody>
      <dsp:txXfrm>
        <a:off x="0" y="3481766"/>
        <a:ext cx="1980219" cy="550681"/>
      </dsp:txXfrm>
    </dsp:sp>
    <dsp:sp modelId="{F97056B9-93C6-4499-9402-39F36CD60F03}">
      <dsp:nvSpPr>
        <dsp:cNvPr id="0" name=""/>
        <dsp:cNvSpPr/>
      </dsp:nvSpPr>
      <dsp:spPr>
        <a:xfrm>
          <a:off x="1980219" y="3481766"/>
          <a:ext cx="1980219" cy="550681"/>
        </a:xfrm>
        <a:prstGeom prst="rect">
          <a:avLst/>
        </a:prstGeom>
        <a:solidFill>
          <a:schemeClr val="bg1">
            <a:lumMod val="95000"/>
            <a:alpha val="90000"/>
          </a:schemeClr>
        </a:solidFill>
        <a:ln w="12700" cap="flat" cmpd="sng" algn="ctr">
          <a:solidFill>
            <a:schemeClr val="accent2">
              <a:alpha val="9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/>
            <a:t>ставки за единицу максимальной мощности</a:t>
          </a:r>
          <a:endParaRPr lang="ru-RU" sz="1300" kern="1200" dirty="0"/>
        </a:p>
      </dsp:txBody>
      <dsp:txXfrm>
        <a:off x="1980219" y="3481766"/>
        <a:ext cx="1980219" cy="550681"/>
      </dsp:txXfrm>
    </dsp:sp>
    <dsp:sp modelId="{0719019E-B747-4E18-9A29-18D6C6F9323F}">
      <dsp:nvSpPr>
        <dsp:cNvPr id="0" name=""/>
        <dsp:cNvSpPr/>
      </dsp:nvSpPr>
      <dsp:spPr>
        <a:xfrm rot="10800000">
          <a:off x="0" y="1308727"/>
          <a:ext cx="3960439" cy="1368004"/>
        </a:xfrm>
        <a:prstGeom prst="upArrowCallout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accent2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chemeClr val="tx1"/>
              </a:solidFill>
            </a:rPr>
            <a:t>Расчет платы сетевой организацией на основе утвержденных ставок платы</a:t>
          </a:r>
          <a:endParaRPr lang="ru-RU" sz="1800" kern="1200" dirty="0">
            <a:solidFill>
              <a:schemeClr val="tx1"/>
            </a:solidFill>
          </a:endParaRPr>
        </a:p>
      </dsp:txBody>
      <dsp:txXfrm rot="10800000">
        <a:off x="0" y="1308727"/>
        <a:ext cx="3960439" cy="888888"/>
      </dsp:txXfrm>
    </dsp:sp>
    <dsp:sp modelId="{5502ED1A-694B-4321-BAB4-71D1F3FD6C75}">
      <dsp:nvSpPr>
        <dsp:cNvPr id="0" name=""/>
        <dsp:cNvSpPr/>
      </dsp:nvSpPr>
      <dsp:spPr>
        <a:xfrm rot="10800000">
          <a:off x="0" y="309"/>
          <a:ext cx="3960439" cy="1326375"/>
        </a:xfrm>
        <a:prstGeom prst="upArrowCallout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accent2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chemeClr val="tx1"/>
              </a:solidFill>
            </a:rPr>
            <a:t>Существует</a:t>
          </a:r>
          <a:r>
            <a:rPr lang="ru-RU" sz="2000" kern="1200" dirty="0" smtClean="0">
              <a:solidFill>
                <a:schemeClr val="tx1"/>
              </a:solidFill>
            </a:rPr>
            <a:t> </a:t>
          </a:r>
          <a:br>
            <a:rPr lang="ru-RU" sz="2000" kern="1200" dirty="0" smtClean="0">
              <a:solidFill>
                <a:schemeClr val="tx1"/>
              </a:solidFill>
            </a:rPr>
          </a:br>
          <a:r>
            <a:rPr lang="ru-RU" sz="2000" kern="1200" dirty="0" smtClean="0">
              <a:solidFill>
                <a:schemeClr val="tx1"/>
              </a:solidFill>
            </a:rPr>
            <a:t>техническая возможность ТП</a:t>
          </a:r>
          <a:endParaRPr lang="ru-RU" sz="2000" kern="1200" dirty="0">
            <a:solidFill>
              <a:schemeClr val="tx1"/>
            </a:solidFill>
          </a:endParaRPr>
        </a:p>
      </dsp:txBody>
      <dsp:txXfrm rot="10800000">
        <a:off x="0" y="309"/>
        <a:ext cx="3960439" cy="86183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238942-225A-4613-8ABD-27EC9AEE87C9}">
      <dsp:nvSpPr>
        <dsp:cNvPr id="0" name=""/>
        <dsp:cNvSpPr/>
      </dsp:nvSpPr>
      <dsp:spPr>
        <a:xfrm>
          <a:off x="0" y="34481"/>
          <a:ext cx="8496944" cy="1477518"/>
        </a:xfrm>
        <a:prstGeom prst="rect">
          <a:avLst/>
        </a:prstGeom>
        <a:solidFill>
          <a:schemeClr val="accent2">
            <a:lumMod val="20000"/>
            <a:lumOff val="80000"/>
          </a:schemeClr>
        </a:solidFill>
        <a:ln w="12700" cap="flat" cmpd="sng" algn="ctr">
          <a:solidFill>
            <a:schemeClr val="accent2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lvl="0" algn="ctr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solidFill>
                <a:schemeClr val="tx1"/>
              </a:solidFill>
            </a:rPr>
            <a:t>Проверка наличия технической возможности </a:t>
          </a:r>
          <a:br>
            <a:rPr lang="ru-RU" sz="2000" kern="1200" dirty="0" smtClean="0">
              <a:solidFill>
                <a:schemeClr val="tx1"/>
              </a:solidFill>
            </a:rPr>
          </a:br>
          <a:r>
            <a:rPr lang="ru-RU" sz="2000" kern="1200" dirty="0" smtClean="0">
              <a:solidFill>
                <a:schemeClr val="tx1"/>
              </a:solidFill>
            </a:rPr>
            <a:t>технологического присоединения объекта Заявителя</a:t>
          </a:r>
          <a:endParaRPr lang="ru-RU" sz="2000" kern="1200" dirty="0">
            <a:solidFill>
              <a:schemeClr val="tx1"/>
            </a:solidFill>
          </a:endParaRPr>
        </a:p>
      </dsp:txBody>
      <dsp:txXfrm>
        <a:off x="0" y="34481"/>
        <a:ext cx="8496944" cy="797859"/>
      </dsp:txXfrm>
    </dsp:sp>
    <dsp:sp modelId="{F377B1A8-3F60-4D16-9A5F-D3BF19C83358}">
      <dsp:nvSpPr>
        <dsp:cNvPr id="0" name=""/>
        <dsp:cNvSpPr/>
      </dsp:nvSpPr>
      <dsp:spPr>
        <a:xfrm>
          <a:off x="0" y="953260"/>
          <a:ext cx="8496944" cy="558172"/>
        </a:xfrm>
        <a:prstGeom prst="rect">
          <a:avLst/>
        </a:prstGeom>
        <a:solidFill>
          <a:schemeClr val="bg1">
            <a:lumMod val="95000"/>
            <a:alpha val="90000"/>
          </a:schemeClr>
        </a:solidFill>
        <a:ln w="12700" cap="flat" cmpd="sng" algn="ctr">
          <a:solidFill>
            <a:schemeClr val="accent2">
              <a:alpha val="9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соблюдение критериев п. 28 Правил технологического присоединения, </a:t>
          </a:r>
          <a:br>
            <a:rPr lang="ru-RU" sz="1600" kern="1200" dirty="0" smtClean="0"/>
          </a:br>
          <a:r>
            <a:rPr lang="ru-RU" sz="1600" b="0" kern="1200" dirty="0" smtClean="0">
              <a:latin typeface="+mj-lt"/>
              <a:ea typeface="+mn-ea"/>
              <a:cs typeface="+mn-cs"/>
            </a:rPr>
            <a:t>утвержденных постановлением Правительства РФ от 27.12.2004 № 861</a:t>
          </a:r>
          <a:endParaRPr lang="ru-RU" sz="1600" kern="1200" dirty="0"/>
        </a:p>
      </dsp:txBody>
      <dsp:txXfrm>
        <a:off x="0" y="953260"/>
        <a:ext cx="8496944" cy="5581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pPr>
              <a:defRPr/>
            </a:pPr>
            <a:fld id="{49810FE5-A670-4675-A618-FDB9B08EFD2D}" type="datetimeFigureOut">
              <a:rPr lang="ru-RU"/>
              <a:pPr>
                <a:defRPr/>
              </a:pPr>
              <a:t>16.04.2015</a:t>
            </a:fld>
            <a:endParaRPr lang="ru-RU"/>
          </a:p>
        </p:txBody>
      </p:sp>
      <p:sp>
        <p:nvSpPr>
          <p:cNvPr id="348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671"/>
            <a:ext cx="2946400" cy="49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48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671"/>
            <a:ext cx="2946400" cy="49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pPr>
              <a:defRPr/>
            </a:pPr>
            <a:fld id="{312A76A6-A8A8-47C5-B708-93DDC02BFC2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1516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5629"/>
            <a:ext cx="5438775" cy="4467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276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671"/>
            <a:ext cx="2946400" cy="49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76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671"/>
            <a:ext cx="2946400" cy="49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5A175C2-34C9-4063-9917-49988B5A3A3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5565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 txBox="1">
            <a:spLocks noGrp="1" noChangeArrowheads="1"/>
          </p:cNvSpPr>
          <p:nvPr/>
        </p:nvSpPr>
        <p:spPr bwMode="auto">
          <a:xfrm>
            <a:off x="3849688" y="9429671"/>
            <a:ext cx="2946400" cy="49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/>
            <a:fld id="{AC05984C-52AE-484E-8626-EF0AF248C84D}" type="slidenum">
              <a:rPr lang="ru-RU" altLang="ru-RU"/>
              <a:pPr algn="r"/>
              <a:t>2</a:t>
            </a:fld>
            <a:endParaRPr lang="ru-RU" altLang="ru-RU"/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i="1" dirty="0" smtClean="0">
              <a:solidFill>
                <a:srgbClr val="000099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 txBox="1">
            <a:spLocks noGrp="1" noChangeArrowheads="1"/>
          </p:cNvSpPr>
          <p:nvPr/>
        </p:nvSpPr>
        <p:spPr bwMode="auto">
          <a:xfrm>
            <a:off x="3849688" y="9429671"/>
            <a:ext cx="2946400" cy="49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/>
            <a:fld id="{AC05984C-52AE-484E-8626-EF0AF248C84D}" type="slidenum">
              <a:rPr lang="ru-RU" altLang="ru-RU"/>
              <a:pPr algn="r"/>
              <a:t>3</a:t>
            </a:fld>
            <a:endParaRPr lang="ru-RU" altLang="ru-RU"/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i="1" dirty="0" smtClean="0">
              <a:solidFill>
                <a:srgbClr val="000099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 txBox="1">
            <a:spLocks noGrp="1" noChangeArrowheads="1"/>
          </p:cNvSpPr>
          <p:nvPr/>
        </p:nvSpPr>
        <p:spPr bwMode="auto">
          <a:xfrm>
            <a:off x="3849688" y="9429671"/>
            <a:ext cx="2946400" cy="49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/>
            <a:fld id="{AC05984C-52AE-484E-8626-EF0AF248C84D}" type="slidenum">
              <a:rPr lang="ru-RU" altLang="ru-RU"/>
              <a:pPr algn="r"/>
              <a:t>4</a:t>
            </a:fld>
            <a:endParaRPr lang="ru-RU" altLang="ru-RU"/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i="1" dirty="0" smtClean="0">
              <a:solidFill>
                <a:srgbClr val="000099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 txBox="1">
            <a:spLocks noGrp="1" noChangeArrowheads="1"/>
          </p:cNvSpPr>
          <p:nvPr/>
        </p:nvSpPr>
        <p:spPr bwMode="auto">
          <a:xfrm>
            <a:off x="3849688" y="9429671"/>
            <a:ext cx="2946400" cy="49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/>
            <a:fld id="{AC05984C-52AE-484E-8626-EF0AF248C84D}" type="slidenum">
              <a:rPr lang="ru-RU" altLang="ru-RU"/>
              <a:pPr algn="r"/>
              <a:t>5</a:t>
            </a:fld>
            <a:endParaRPr lang="ru-RU" altLang="ru-RU"/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i="1" dirty="0" smtClean="0">
              <a:solidFill>
                <a:srgbClr val="000099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 txBox="1">
            <a:spLocks noGrp="1" noChangeArrowheads="1"/>
          </p:cNvSpPr>
          <p:nvPr/>
        </p:nvSpPr>
        <p:spPr bwMode="auto">
          <a:xfrm>
            <a:off x="3849688" y="9429671"/>
            <a:ext cx="2946400" cy="49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/>
            <a:fld id="{AC05984C-52AE-484E-8626-EF0AF248C84D}" type="slidenum">
              <a:rPr lang="ru-RU" altLang="ru-RU"/>
              <a:pPr algn="r"/>
              <a:t>6</a:t>
            </a:fld>
            <a:endParaRPr lang="ru-RU" altLang="ru-RU"/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i="1" dirty="0" smtClean="0">
              <a:solidFill>
                <a:srgbClr val="000099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 txBox="1">
            <a:spLocks noGrp="1" noChangeArrowheads="1"/>
          </p:cNvSpPr>
          <p:nvPr/>
        </p:nvSpPr>
        <p:spPr bwMode="auto">
          <a:xfrm>
            <a:off x="3849688" y="9429671"/>
            <a:ext cx="2946400" cy="49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/>
            <a:fld id="{AC05984C-52AE-484E-8626-EF0AF248C84D}" type="slidenum">
              <a:rPr lang="ru-RU" altLang="ru-RU"/>
              <a:pPr algn="r"/>
              <a:t>7</a:t>
            </a:fld>
            <a:endParaRPr lang="ru-RU" altLang="ru-RU"/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i="1" dirty="0" smtClean="0">
              <a:solidFill>
                <a:srgbClr val="000099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 txBox="1">
            <a:spLocks noGrp="1" noChangeArrowheads="1"/>
          </p:cNvSpPr>
          <p:nvPr/>
        </p:nvSpPr>
        <p:spPr bwMode="auto">
          <a:xfrm>
            <a:off x="3849688" y="9429671"/>
            <a:ext cx="2946400" cy="49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/>
            <a:fld id="{AC05984C-52AE-484E-8626-EF0AF248C84D}" type="slidenum">
              <a:rPr lang="ru-RU" altLang="ru-RU"/>
              <a:pPr algn="r"/>
              <a:t>8</a:t>
            </a:fld>
            <a:endParaRPr lang="ru-RU" altLang="ru-RU"/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i="1" dirty="0" smtClean="0">
              <a:solidFill>
                <a:srgbClr val="000099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 txBox="1">
            <a:spLocks noGrp="1" noChangeArrowheads="1"/>
          </p:cNvSpPr>
          <p:nvPr/>
        </p:nvSpPr>
        <p:spPr bwMode="auto">
          <a:xfrm>
            <a:off x="3849688" y="9429671"/>
            <a:ext cx="2946400" cy="49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/>
            <a:fld id="{AC05984C-52AE-484E-8626-EF0AF248C84D}" type="slidenum">
              <a:rPr lang="ru-RU" altLang="ru-RU"/>
              <a:pPr algn="r"/>
              <a:t>9</a:t>
            </a:fld>
            <a:endParaRPr lang="ru-RU" altLang="ru-RU"/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i="1" dirty="0" smtClean="0">
              <a:solidFill>
                <a:srgbClr val="000099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ADAE2A-50EC-404A-9D8E-2EF5F96F0FB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9204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29EE4D-111F-4BC4-B070-B2B84452505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65405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E3E5BC-CF27-48B2-B182-C810A38D08B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98180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D08A6A-7084-40A3-BF5E-E63BB830DFA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06734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1801EE-0FAB-4D10-9229-9D90A2CA698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96448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45D07F-E656-4667-B5BD-17C8091825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76331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522C18-D545-4356-B318-F9F67EED701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90874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701FE7-A0A4-44BE-99A1-3F319DDF18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98776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939322-37AE-4029-A36C-30D2FD60388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7920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6CECA8-B434-4AEC-B801-C2B534F3D67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54008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223016-9F8B-467A-9E9F-50172EC1B4C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20737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12E03D-3CCA-4FD6-A1CD-A7AE429772E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59440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AEA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>
              <a:defRPr/>
            </a:pPr>
            <a:fld id="{6B782E62-8095-426D-9B72-8DBE6A3EDA6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2.jpe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13" Type="http://schemas.microsoft.com/office/2007/relationships/diagramDrawing" Target="../diagrams/drawing4.xml"/><Relationship Id="rId18" Type="http://schemas.microsoft.com/office/2007/relationships/diagramDrawing" Target="../diagrams/drawing5.xml"/><Relationship Id="rId3" Type="http://schemas.openxmlformats.org/officeDocument/2006/relationships/image" Target="../media/image2.jpeg"/><Relationship Id="rId7" Type="http://schemas.openxmlformats.org/officeDocument/2006/relationships/diagramColors" Target="../diagrams/colors3.xml"/><Relationship Id="rId12" Type="http://schemas.openxmlformats.org/officeDocument/2006/relationships/diagramColors" Target="../diagrams/colors4.xml"/><Relationship Id="rId17" Type="http://schemas.openxmlformats.org/officeDocument/2006/relationships/diagramColors" Target="../diagrams/colors5.xml"/><Relationship Id="rId2" Type="http://schemas.openxmlformats.org/officeDocument/2006/relationships/notesSlide" Target="../notesSlides/notesSlide4.xml"/><Relationship Id="rId16" Type="http://schemas.openxmlformats.org/officeDocument/2006/relationships/diagramQuickStyle" Target="../diagrams/quickStyle5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3.xml"/><Relationship Id="rId11" Type="http://schemas.openxmlformats.org/officeDocument/2006/relationships/diagramQuickStyle" Target="../diagrams/quickStyle4.xml"/><Relationship Id="rId5" Type="http://schemas.openxmlformats.org/officeDocument/2006/relationships/diagramLayout" Target="../diagrams/layout3.xml"/><Relationship Id="rId15" Type="http://schemas.openxmlformats.org/officeDocument/2006/relationships/diagramLayout" Target="../diagrams/layout5.xml"/><Relationship Id="rId10" Type="http://schemas.openxmlformats.org/officeDocument/2006/relationships/diagramLayout" Target="../diagrams/layout4.xml"/><Relationship Id="rId4" Type="http://schemas.openxmlformats.org/officeDocument/2006/relationships/diagramData" Target="../diagrams/data3.xml"/><Relationship Id="rId9" Type="http://schemas.openxmlformats.org/officeDocument/2006/relationships/diagramData" Target="../diagrams/data4.xml"/><Relationship Id="rId14" Type="http://schemas.openxmlformats.org/officeDocument/2006/relationships/diagramData" Target="../diagrams/data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chart" Target="../charts/chart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chart" Target="../charts/char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chart" Target="../charts/chart1.xml"/><Relationship Id="rId5" Type="http://schemas.openxmlformats.org/officeDocument/2006/relationships/tags" Target="../tags/tag5.xml"/><Relationship Id="rId10" Type="http://schemas.openxmlformats.org/officeDocument/2006/relationships/image" Target="../media/image2.jpeg"/><Relationship Id="rId4" Type="http://schemas.openxmlformats.org/officeDocument/2006/relationships/tags" Target="../tags/tag4.xml"/><Relationship Id="rId9" Type="http://schemas.openxmlformats.org/officeDocument/2006/relationships/notesSlide" Target="../notesSlides/notesSlide5.xml"/><Relationship Id="rId14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04863"/>
            <a:ext cx="9144000" cy="524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Rectangle 5"/>
          <p:cNvSpPr>
            <a:spLocks noChangeArrowheads="1"/>
          </p:cNvSpPr>
          <p:nvPr/>
        </p:nvSpPr>
        <p:spPr bwMode="auto">
          <a:xfrm>
            <a:off x="611188" y="2636912"/>
            <a:ext cx="8064500" cy="193899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lvl="0" algn="ctr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3000" b="1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Основные </a:t>
            </a:r>
            <a:r>
              <a:rPr lang="ru-RU" sz="3000" b="1" dirty="0" smtClean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вопросы регулирования  </a:t>
            </a:r>
            <a:r>
              <a:rPr lang="ru-RU" sz="3000" b="1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платы за технологическое присоединение к электрическим сетям территориальных сетевых организаций</a:t>
            </a:r>
            <a:r>
              <a:rPr lang="ru-RU" altLang="ru-RU" sz="3000" dirty="0" smtClean="0"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endParaRPr lang="ru-RU" altLang="ru-RU" sz="3000" dirty="0"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053" name="Rectangle 9"/>
          <p:cNvSpPr>
            <a:spLocks noChangeArrowheads="1"/>
          </p:cNvSpPr>
          <p:nvPr/>
        </p:nvSpPr>
        <p:spPr bwMode="auto">
          <a:xfrm>
            <a:off x="6011863" y="4724400"/>
            <a:ext cx="28892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endParaRPr lang="ru-RU" altLang="ru-RU" b="1">
              <a:solidFill>
                <a:srgbClr val="000066"/>
              </a:solidFill>
            </a:endParaRPr>
          </a:p>
        </p:txBody>
      </p:sp>
      <p:pic>
        <p:nvPicPr>
          <p:cNvPr id="2054" name="Picture 2" descr="C:\Documents and Settings\yuriryab\Рабочий стол\Шаблон-Мурманск-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5963" y="4929188"/>
            <a:ext cx="3159125" cy="192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5" name="Rectangle 7"/>
          <p:cNvSpPr>
            <a:spLocks noChangeArrowheads="1"/>
          </p:cNvSpPr>
          <p:nvPr/>
        </p:nvSpPr>
        <p:spPr bwMode="auto">
          <a:xfrm>
            <a:off x="6640513" y="1071563"/>
            <a:ext cx="250348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400" dirty="0">
                <a:latin typeface="Century Gothic" pitchFamily="34" charset="0"/>
              </a:rPr>
              <a:t>1</a:t>
            </a:r>
            <a:r>
              <a:rPr lang="ru-RU" altLang="ru-RU" sz="1400" dirty="0" smtClean="0">
                <a:latin typeface="Century Gothic" pitchFamily="34" charset="0"/>
              </a:rPr>
              <a:t>7 апреля 2015 </a:t>
            </a:r>
            <a:r>
              <a:rPr lang="ru-RU" altLang="ru-RU" sz="1400" dirty="0">
                <a:latin typeface="Century Gothic" pitchFamily="34" charset="0"/>
              </a:rPr>
              <a:t>года</a:t>
            </a:r>
          </a:p>
          <a:p>
            <a:r>
              <a:rPr lang="ru-RU" altLang="ru-RU" sz="1400" dirty="0">
                <a:latin typeface="Century Gothic" pitchFamily="34" charset="0"/>
              </a:rPr>
              <a:t> г. Мурманск</a:t>
            </a:r>
          </a:p>
        </p:txBody>
      </p:sp>
      <p:sp>
        <p:nvSpPr>
          <p:cNvPr id="2056" name="Text Box 9"/>
          <p:cNvSpPr txBox="1">
            <a:spLocks noChangeArrowheads="1"/>
          </p:cNvSpPr>
          <p:nvPr/>
        </p:nvSpPr>
        <p:spPr bwMode="auto">
          <a:xfrm>
            <a:off x="0" y="5791200"/>
            <a:ext cx="4193777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200">
                <a:solidFill>
                  <a:schemeClr val="tx1"/>
                </a:solidFill>
                <a:latin typeface="Arial" charset="0"/>
              </a:defRPr>
            </a:lvl1pPr>
            <a:lvl2pPr>
              <a:defRPr sz="28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000">
                <a:solidFill>
                  <a:schemeClr val="tx1"/>
                </a:solidFill>
                <a:latin typeface="Arial" charset="0"/>
              </a:defRPr>
            </a:lvl4pPr>
            <a:lvl5pPr>
              <a:defRPr sz="2000">
                <a:solidFill>
                  <a:schemeClr val="tx1"/>
                </a:solidFill>
                <a:latin typeface="Arial" charset="0"/>
              </a:defRPr>
            </a:lvl5pPr>
            <a:lvl6pPr eaLnBrk="0" hangingPunct="0">
              <a:defRPr sz="2000">
                <a:solidFill>
                  <a:schemeClr val="tx1"/>
                </a:solidFill>
                <a:latin typeface="Arial" charset="0"/>
              </a:defRPr>
            </a:lvl6pPr>
            <a:lvl7pPr eaLnBrk="0" hangingPunct="0">
              <a:defRPr sz="2000">
                <a:solidFill>
                  <a:schemeClr val="tx1"/>
                </a:solidFill>
                <a:latin typeface="Arial" charset="0"/>
              </a:defRPr>
            </a:lvl7pPr>
            <a:lvl8pPr eaLnBrk="0" hangingPunct="0">
              <a:defRPr sz="2000">
                <a:solidFill>
                  <a:schemeClr val="tx1"/>
                </a:solidFill>
                <a:latin typeface="Arial" charset="0"/>
              </a:defRPr>
            </a:lvl8pPr>
            <a:lvl9pPr eaLnBrk="0" hangingPunct="0"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altLang="ru-RU" sz="1400" dirty="0" smtClean="0">
                <a:latin typeface="Century Gothic" pitchFamily="34" charset="0"/>
                <a:cs typeface="Arial" charset="0"/>
              </a:rPr>
              <a:t>Ведущий специалист отдела </a:t>
            </a:r>
          </a:p>
          <a:p>
            <a:r>
              <a:rPr lang="ru-RU" altLang="ru-RU" sz="1400" dirty="0" smtClean="0">
                <a:latin typeface="Century Gothic" pitchFamily="34" charset="0"/>
                <a:cs typeface="Arial" charset="0"/>
              </a:rPr>
              <a:t>Управления по тарифному регулированию </a:t>
            </a:r>
          </a:p>
          <a:p>
            <a:r>
              <a:rPr lang="ru-RU" altLang="ru-RU" sz="1400" dirty="0" smtClean="0">
                <a:latin typeface="Century Gothic" pitchFamily="34" charset="0"/>
                <a:cs typeface="Arial" charset="0"/>
              </a:rPr>
              <a:t>Мурманской области</a:t>
            </a:r>
          </a:p>
          <a:p>
            <a:r>
              <a:rPr lang="ru-RU" altLang="ru-RU" sz="1400" dirty="0" err="1" smtClean="0">
                <a:latin typeface="Century Gothic" pitchFamily="34" charset="0"/>
                <a:cs typeface="Arial" charset="0"/>
              </a:rPr>
              <a:t>Будкина</a:t>
            </a:r>
            <a:r>
              <a:rPr lang="ru-RU" altLang="ru-RU" sz="1400" dirty="0" smtClean="0">
                <a:latin typeface="Century Gothic" pitchFamily="34" charset="0"/>
                <a:cs typeface="Arial" charset="0"/>
              </a:rPr>
              <a:t> Екатерина Александровна</a:t>
            </a:r>
            <a:endParaRPr lang="ru-RU" altLang="ru-RU" sz="1400" dirty="0">
              <a:latin typeface="Century Gothic" pitchFamily="34" charset="0"/>
              <a:cs typeface="Arial" charset="0"/>
            </a:endParaRPr>
          </a:p>
        </p:txBody>
      </p:sp>
      <p:sp>
        <p:nvSpPr>
          <p:cNvPr id="9" name="Прямоугольник 9"/>
          <p:cNvSpPr>
            <a:spLocks noChangeArrowheads="1"/>
          </p:cNvSpPr>
          <p:nvPr/>
        </p:nvSpPr>
        <p:spPr bwMode="auto">
          <a:xfrm>
            <a:off x="0" y="2704"/>
            <a:ext cx="9144000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1400" b="1" dirty="0" smtClean="0">
                <a:latin typeface="Century Gothic" pitchFamily="34" charset="0"/>
                <a:cs typeface="Times New Roman" pitchFamily="18" charset="0"/>
              </a:rPr>
              <a:t>Региональный </a:t>
            </a:r>
            <a:r>
              <a:rPr lang="ru-RU" sz="1400" b="1" dirty="0">
                <a:latin typeface="Century Gothic" pitchFamily="34" charset="0"/>
                <a:cs typeface="Times New Roman" pitchFamily="18" charset="0"/>
              </a:rPr>
              <a:t>семинар-совещание </a:t>
            </a:r>
          </a:p>
          <a:p>
            <a:pPr algn="ctr" eaLnBrk="0" hangingPunct="0"/>
            <a:r>
              <a:rPr lang="ru-RU" sz="1400" b="1" dirty="0">
                <a:latin typeface="Century Gothic" pitchFamily="34" charset="0"/>
                <a:cs typeface="Times New Roman" pitchFamily="18" charset="0"/>
              </a:rPr>
              <a:t> </a:t>
            </a:r>
            <a:r>
              <a:rPr lang="ru-RU" sz="1400" b="1" dirty="0" smtClean="0">
                <a:latin typeface="Century Gothic" pitchFamily="34" charset="0"/>
                <a:cs typeface="Times New Roman" pitchFamily="18" charset="0"/>
              </a:rPr>
              <a:t>«Тарифное регулирование 2015 </a:t>
            </a:r>
            <a:r>
              <a:rPr lang="ru-RU" sz="1400" b="1" dirty="0">
                <a:latin typeface="Century Gothic" pitchFamily="34" charset="0"/>
                <a:cs typeface="Times New Roman" pitchFamily="18" charset="0"/>
              </a:rPr>
              <a:t>года и задачи Управления по тарифному регулированию Мурманской области на следующий период регулирования»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04863"/>
            <a:ext cx="9144000" cy="524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Rectangle 9"/>
          <p:cNvSpPr>
            <a:spLocks noChangeArrowheads="1"/>
          </p:cNvSpPr>
          <p:nvPr/>
        </p:nvSpPr>
        <p:spPr bwMode="auto">
          <a:xfrm>
            <a:off x="6011863" y="4724400"/>
            <a:ext cx="28892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endParaRPr lang="ru-RU" altLang="ru-RU" b="1">
              <a:solidFill>
                <a:srgbClr val="000066"/>
              </a:solidFill>
            </a:endParaRPr>
          </a:p>
        </p:txBody>
      </p:sp>
      <p:pic>
        <p:nvPicPr>
          <p:cNvPr id="2054" name="Picture 2" descr="C:\Documents and Settings\yuriryab\Рабочий стол\Шаблон-Мурманск-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5963" y="4929188"/>
            <a:ext cx="3159125" cy="192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5" name="Rectangle 7"/>
          <p:cNvSpPr>
            <a:spLocks noChangeArrowheads="1"/>
          </p:cNvSpPr>
          <p:nvPr/>
        </p:nvSpPr>
        <p:spPr bwMode="auto">
          <a:xfrm>
            <a:off x="6640513" y="1071563"/>
            <a:ext cx="250348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400" dirty="0" smtClean="0">
                <a:solidFill>
                  <a:srgbClr val="000000"/>
                </a:solidFill>
                <a:latin typeface="Century Gothic" pitchFamily="34" charset="0"/>
              </a:rPr>
              <a:t>17 апреля 2015 </a:t>
            </a:r>
            <a:r>
              <a:rPr lang="ru-RU" altLang="ru-RU" sz="1400" dirty="0">
                <a:solidFill>
                  <a:srgbClr val="000000"/>
                </a:solidFill>
                <a:latin typeface="Century Gothic" pitchFamily="34" charset="0"/>
              </a:rPr>
              <a:t>года</a:t>
            </a:r>
          </a:p>
          <a:p>
            <a:r>
              <a:rPr lang="ru-RU" altLang="ru-RU" sz="1400" dirty="0">
                <a:solidFill>
                  <a:srgbClr val="000000"/>
                </a:solidFill>
                <a:latin typeface="Century Gothic" pitchFamily="34" charset="0"/>
              </a:rPr>
              <a:t> г. Мурманск</a:t>
            </a:r>
          </a:p>
        </p:txBody>
      </p:sp>
      <p:sp>
        <p:nvSpPr>
          <p:cNvPr id="2056" name="Text Box 9"/>
          <p:cNvSpPr txBox="1">
            <a:spLocks noChangeArrowheads="1"/>
          </p:cNvSpPr>
          <p:nvPr/>
        </p:nvSpPr>
        <p:spPr bwMode="auto">
          <a:xfrm>
            <a:off x="0" y="5791200"/>
            <a:ext cx="4193777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200">
                <a:solidFill>
                  <a:schemeClr val="tx1"/>
                </a:solidFill>
                <a:latin typeface="Arial" charset="0"/>
              </a:defRPr>
            </a:lvl1pPr>
            <a:lvl2pPr>
              <a:defRPr sz="2800">
                <a:solidFill>
                  <a:schemeClr val="tx1"/>
                </a:solidFill>
                <a:latin typeface="Arial" charset="0"/>
              </a:defRPr>
            </a:lvl2pPr>
            <a:lvl3pPr>
              <a:defRPr sz="2400">
                <a:solidFill>
                  <a:schemeClr val="tx1"/>
                </a:solidFill>
                <a:latin typeface="Arial" charset="0"/>
              </a:defRPr>
            </a:lvl3pPr>
            <a:lvl4pPr>
              <a:defRPr sz="2000">
                <a:solidFill>
                  <a:schemeClr val="tx1"/>
                </a:solidFill>
                <a:latin typeface="Arial" charset="0"/>
              </a:defRPr>
            </a:lvl4pPr>
            <a:lvl5pPr>
              <a:defRPr sz="2000">
                <a:solidFill>
                  <a:schemeClr val="tx1"/>
                </a:solidFill>
                <a:latin typeface="Arial" charset="0"/>
              </a:defRPr>
            </a:lvl5pPr>
            <a:lvl6pPr eaLnBrk="0" hangingPunct="0">
              <a:defRPr sz="2000">
                <a:solidFill>
                  <a:schemeClr val="tx1"/>
                </a:solidFill>
                <a:latin typeface="Arial" charset="0"/>
              </a:defRPr>
            </a:lvl6pPr>
            <a:lvl7pPr eaLnBrk="0" hangingPunct="0">
              <a:defRPr sz="2000">
                <a:solidFill>
                  <a:schemeClr val="tx1"/>
                </a:solidFill>
                <a:latin typeface="Arial" charset="0"/>
              </a:defRPr>
            </a:lvl7pPr>
            <a:lvl8pPr eaLnBrk="0" hangingPunct="0">
              <a:defRPr sz="2000">
                <a:solidFill>
                  <a:schemeClr val="tx1"/>
                </a:solidFill>
                <a:latin typeface="Arial" charset="0"/>
              </a:defRPr>
            </a:lvl8pPr>
            <a:lvl9pPr eaLnBrk="0" hangingPunct="0"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altLang="ru-RU" sz="1400" dirty="0">
                <a:latin typeface="Century Gothic" pitchFamily="34" charset="0"/>
                <a:cs typeface="Arial" charset="0"/>
              </a:rPr>
              <a:t>Ведущий специалист </a:t>
            </a:r>
            <a:r>
              <a:rPr lang="ru-RU" altLang="ru-RU" sz="1400" dirty="0" smtClean="0">
                <a:latin typeface="Century Gothic" pitchFamily="34" charset="0"/>
                <a:cs typeface="Arial" charset="0"/>
              </a:rPr>
              <a:t>отдела </a:t>
            </a:r>
          </a:p>
          <a:p>
            <a:r>
              <a:rPr lang="ru-RU" altLang="ru-RU" sz="1400" dirty="0" smtClean="0">
                <a:latin typeface="Century Gothic" pitchFamily="34" charset="0"/>
                <a:cs typeface="Arial" charset="0"/>
              </a:rPr>
              <a:t>Управления по </a:t>
            </a:r>
            <a:r>
              <a:rPr lang="ru-RU" altLang="ru-RU" sz="1400" dirty="0">
                <a:latin typeface="Century Gothic" pitchFamily="34" charset="0"/>
                <a:cs typeface="Arial" charset="0"/>
              </a:rPr>
              <a:t>тарифному регулированию </a:t>
            </a:r>
          </a:p>
          <a:p>
            <a:r>
              <a:rPr lang="ru-RU" altLang="ru-RU" sz="1400" dirty="0">
                <a:latin typeface="Century Gothic" pitchFamily="34" charset="0"/>
                <a:cs typeface="Arial" charset="0"/>
              </a:rPr>
              <a:t>Мурманской области</a:t>
            </a:r>
          </a:p>
          <a:p>
            <a:r>
              <a:rPr lang="ru-RU" altLang="ru-RU" sz="1400" dirty="0" err="1" smtClean="0">
                <a:latin typeface="Century Gothic" pitchFamily="34" charset="0"/>
                <a:cs typeface="Arial" charset="0"/>
              </a:rPr>
              <a:t>Будкина</a:t>
            </a:r>
            <a:r>
              <a:rPr lang="ru-RU" altLang="ru-RU" sz="1400" dirty="0" smtClean="0">
                <a:latin typeface="Century Gothic" pitchFamily="34" charset="0"/>
                <a:cs typeface="Arial" charset="0"/>
              </a:rPr>
              <a:t> Екатерина Александровна</a:t>
            </a:r>
            <a:endParaRPr lang="ru-RU" altLang="ru-RU" sz="1400" dirty="0">
              <a:latin typeface="Century Gothic" pitchFamily="34" charset="0"/>
              <a:cs typeface="Arial" charset="0"/>
            </a:endParaRPr>
          </a:p>
        </p:txBody>
      </p:sp>
      <p:sp>
        <p:nvSpPr>
          <p:cNvPr id="10" name="Прямоугольник 9"/>
          <p:cNvSpPr>
            <a:spLocks noChangeArrowheads="1"/>
          </p:cNvSpPr>
          <p:nvPr/>
        </p:nvSpPr>
        <p:spPr bwMode="auto">
          <a:xfrm>
            <a:off x="0" y="2704"/>
            <a:ext cx="91440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eaLnBrk="0" hangingPunct="0"/>
            <a:endParaRPr lang="ru-RU" sz="1400" b="1" dirty="0">
              <a:latin typeface="Century Gothic" pitchFamily="34" charset="0"/>
              <a:cs typeface="Times New Roman" pitchFamily="18" charset="0"/>
            </a:endParaRPr>
          </a:p>
        </p:txBody>
      </p:sp>
      <p:sp>
        <p:nvSpPr>
          <p:cNvPr id="9" name="Прямоугольник 9"/>
          <p:cNvSpPr>
            <a:spLocks noChangeArrowheads="1"/>
          </p:cNvSpPr>
          <p:nvPr/>
        </p:nvSpPr>
        <p:spPr bwMode="auto">
          <a:xfrm>
            <a:off x="214313" y="71438"/>
            <a:ext cx="8286750" cy="98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0" hangingPunct="0"/>
            <a:r>
              <a:rPr lang="ru-RU" sz="2200" dirty="0">
                <a:latin typeface="Century Gothic" pitchFamily="34" charset="0"/>
                <a:cs typeface="Times New Roman" pitchFamily="18" charset="0"/>
              </a:rPr>
              <a:t>УПРАВЛЕНИЕ ПО ТАРИФНОМУ РЕГУЛИРОВАНИЮ МУРМАНСКОЙ ОБЛАСТИ</a:t>
            </a:r>
          </a:p>
          <a:p>
            <a:pPr eaLnBrk="0" hangingPunct="0"/>
            <a:endParaRPr lang="ru-RU" sz="1400" dirty="0">
              <a:latin typeface="Century Gothic" pitchFamily="34" charset="0"/>
              <a:cs typeface="Times New Roman" pitchFamily="18" charset="0"/>
            </a:endParaRPr>
          </a:p>
        </p:txBody>
      </p:sp>
      <p:sp>
        <p:nvSpPr>
          <p:cNvPr id="11" name="TextBox 7"/>
          <p:cNvSpPr txBox="1">
            <a:spLocks noChangeArrowheads="1"/>
          </p:cNvSpPr>
          <p:nvPr/>
        </p:nvSpPr>
        <p:spPr bwMode="auto">
          <a:xfrm>
            <a:off x="3000375" y="2928938"/>
            <a:ext cx="3649663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2400" b="1" dirty="0">
                <a:latin typeface="Century Gothic" pitchFamily="34" charset="0"/>
                <a:cs typeface="Times New Roman" pitchFamily="18" charset="0"/>
              </a:rPr>
              <a:t>Спасибо за внимание</a:t>
            </a:r>
          </a:p>
        </p:txBody>
      </p:sp>
    </p:spTree>
    <p:extLst>
      <p:ext uri="{BB962C8B-B14F-4D97-AF65-F5344CB8AC3E}">
        <p14:creationId xmlns:p14="http://schemas.microsoft.com/office/powerpoint/2010/main" val="33024641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Documents and Settings\yuriryab\Рабочий стол\Шаблон-Мурманск-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1800" y="0"/>
            <a:ext cx="1092200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72" name="Прямоугольник 14"/>
          <p:cNvSpPr>
            <a:spLocks noChangeArrowheads="1"/>
          </p:cNvSpPr>
          <p:nvPr/>
        </p:nvSpPr>
        <p:spPr bwMode="auto">
          <a:xfrm>
            <a:off x="0" y="107340"/>
            <a:ext cx="802798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cap="all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Нормативная правовая база в области ТП</a:t>
            </a:r>
            <a:endParaRPr lang="en-US" cap="all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78" name="Rectangle 26"/>
          <p:cNvSpPr>
            <a:spLocks noChangeArrowheads="1"/>
          </p:cNvSpPr>
          <p:nvPr/>
        </p:nvSpPr>
        <p:spPr bwMode="auto">
          <a:xfrm>
            <a:off x="827088" y="5805488"/>
            <a:ext cx="80645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algn="ctr" eaLnBrk="0" hangingPunct="0"/>
            <a:endParaRPr lang="ru-RU" altLang="ru-RU" sz="1600" b="1">
              <a:solidFill>
                <a:srgbClr val="F20000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6" name="Line 4"/>
          <p:cNvSpPr>
            <a:spLocks noChangeShapeType="1"/>
          </p:cNvSpPr>
          <p:nvPr/>
        </p:nvSpPr>
        <p:spPr bwMode="auto">
          <a:xfrm>
            <a:off x="0" y="548680"/>
            <a:ext cx="673258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466799838"/>
              </p:ext>
            </p:extLst>
          </p:nvPr>
        </p:nvGraphicFramePr>
        <p:xfrm>
          <a:off x="107504" y="666750"/>
          <a:ext cx="8928992" cy="60746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8844097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Documents and Settings\yuriryab\Рабочий стол\Шаблон-Мурманск-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1800" y="0"/>
            <a:ext cx="1092200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72" name="Прямоугольник 14"/>
          <p:cNvSpPr>
            <a:spLocks noChangeArrowheads="1"/>
          </p:cNvSpPr>
          <p:nvPr/>
        </p:nvSpPr>
        <p:spPr bwMode="auto">
          <a:xfrm>
            <a:off x="0" y="107340"/>
            <a:ext cx="802798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cap="all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Состав расходов по технологическому присоединению</a:t>
            </a:r>
            <a:endParaRPr lang="en-US" cap="all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78" name="Rectangle 26"/>
          <p:cNvSpPr>
            <a:spLocks noChangeArrowheads="1"/>
          </p:cNvSpPr>
          <p:nvPr/>
        </p:nvSpPr>
        <p:spPr bwMode="auto">
          <a:xfrm>
            <a:off x="827088" y="5805488"/>
            <a:ext cx="80645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algn="ctr" eaLnBrk="0" hangingPunct="0"/>
            <a:endParaRPr lang="ru-RU" altLang="ru-RU" sz="1600" b="1">
              <a:solidFill>
                <a:srgbClr val="F20000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6" name="Line 4"/>
          <p:cNvSpPr>
            <a:spLocks noChangeShapeType="1"/>
          </p:cNvSpPr>
          <p:nvPr/>
        </p:nvSpPr>
        <p:spPr bwMode="auto">
          <a:xfrm>
            <a:off x="0" y="548680"/>
            <a:ext cx="673258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3319136058"/>
              </p:ext>
            </p:extLst>
          </p:nvPr>
        </p:nvGraphicFramePr>
        <p:xfrm>
          <a:off x="107504" y="666750"/>
          <a:ext cx="8928992" cy="60746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3635896" y="3132000"/>
            <a:ext cx="1767600" cy="938719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lvl="0" algn="ctr"/>
            <a:r>
              <a:rPr lang="ru-RU" sz="1100" dirty="0"/>
              <a:t>(уровень напряжения </a:t>
            </a:r>
            <a:br>
              <a:rPr lang="ru-RU" sz="1100" dirty="0"/>
            </a:br>
            <a:r>
              <a:rPr lang="ru-RU" sz="1100" dirty="0"/>
              <a:t>не ниже 35 </a:t>
            </a:r>
            <a:r>
              <a:rPr lang="ru-RU" sz="1100" dirty="0" err="1"/>
              <a:t>кВ</a:t>
            </a:r>
            <a:r>
              <a:rPr lang="ru-RU" sz="1100" dirty="0"/>
              <a:t> </a:t>
            </a:r>
            <a:r>
              <a:rPr lang="ru-RU" sz="1100" dirty="0" smtClean="0"/>
              <a:t/>
            </a:r>
            <a:br>
              <a:rPr lang="ru-RU" sz="1100" dirty="0" smtClean="0"/>
            </a:br>
            <a:r>
              <a:rPr lang="ru-RU" sz="1100" dirty="0" smtClean="0"/>
              <a:t>и </a:t>
            </a:r>
            <a:r>
              <a:rPr lang="ru-RU" sz="1100" dirty="0"/>
              <a:t>максимальная мощность не менее 8900 кВт</a:t>
            </a:r>
            <a:r>
              <a:rPr lang="ru-RU" sz="1100" dirty="0" smtClean="0"/>
              <a:t>)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37696426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Documents and Settings\yuriryab\Рабочий стол\Шаблон-Мурманск-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1800" y="0"/>
            <a:ext cx="1092200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72" name="Прямоугольник 14"/>
          <p:cNvSpPr>
            <a:spLocks noChangeArrowheads="1"/>
          </p:cNvSpPr>
          <p:nvPr/>
        </p:nvSpPr>
        <p:spPr bwMode="auto">
          <a:xfrm>
            <a:off x="0" y="107340"/>
            <a:ext cx="802798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cap="all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Расчет платы за технологическое присоединение</a:t>
            </a:r>
            <a:endParaRPr lang="en-US" cap="all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Line 4"/>
          <p:cNvSpPr>
            <a:spLocks noChangeShapeType="1"/>
          </p:cNvSpPr>
          <p:nvPr/>
        </p:nvSpPr>
        <p:spPr bwMode="auto">
          <a:xfrm>
            <a:off x="0" y="548680"/>
            <a:ext cx="673258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3794250837"/>
              </p:ext>
            </p:extLst>
          </p:nvPr>
        </p:nvGraphicFramePr>
        <p:xfrm>
          <a:off x="323528" y="2591984"/>
          <a:ext cx="4176464" cy="30243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3667505399"/>
              </p:ext>
            </p:extLst>
          </p:nvPr>
        </p:nvGraphicFramePr>
        <p:xfrm>
          <a:off x="4860032" y="2591984"/>
          <a:ext cx="3960440" cy="40324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aphicFrame>
        <p:nvGraphicFramePr>
          <p:cNvPr id="14" name="Схема 13"/>
          <p:cNvGraphicFramePr/>
          <p:nvPr>
            <p:extLst>
              <p:ext uri="{D42A27DB-BD31-4B8C-83A1-F6EECF244321}">
                <p14:modId xmlns:p14="http://schemas.microsoft.com/office/powerpoint/2010/main" val="3143870025"/>
              </p:ext>
            </p:extLst>
          </p:nvPr>
        </p:nvGraphicFramePr>
        <p:xfrm>
          <a:off x="323528" y="764704"/>
          <a:ext cx="8496944" cy="1512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sp>
        <p:nvSpPr>
          <p:cNvPr id="4" name="Стрелка вниз 3"/>
          <p:cNvSpPr/>
          <p:nvPr/>
        </p:nvSpPr>
        <p:spPr>
          <a:xfrm>
            <a:off x="2123728" y="2276872"/>
            <a:ext cx="540000" cy="324000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Стрелка вниз 16"/>
          <p:cNvSpPr/>
          <p:nvPr/>
        </p:nvSpPr>
        <p:spPr>
          <a:xfrm>
            <a:off x="6552280" y="2276872"/>
            <a:ext cx="540000" cy="324000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98952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Documents and Settings\yuriryab\Рабочий стол\Шаблон-Мурманск-2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1800" y="0"/>
            <a:ext cx="1092200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72" name="Прямоугольник 14"/>
          <p:cNvSpPr>
            <a:spLocks noChangeArrowheads="1"/>
          </p:cNvSpPr>
          <p:nvPr/>
        </p:nvSpPr>
        <p:spPr bwMode="auto">
          <a:xfrm>
            <a:off x="0" y="107340"/>
            <a:ext cx="802798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cap="all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План мероприятий («Дорожная карта»)</a:t>
            </a:r>
          </a:p>
          <a:p>
            <a:pPr>
              <a:defRPr/>
            </a:pPr>
            <a:endParaRPr lang="en-US" cap="all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Line 4"/>
          <p:cNvSpPr>
            <a:spLocks noChangeShapeType="1"/>
          </p:cNvSpPr>
          <p:nvPr/>
        </p:nvSpPr>
        <p:spPr bwMode="auto">
          <a:xfrm>
            <a:off x="0" y="548680"/>
            <a:ext cx="673258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0" y="632882"/>
            <a:ext cx="9144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i="1" dirty="0" smtClean="0"/>
              <a:t>Повышение доступности энергетической инфраструктуры</a:t>
            </a:r>
          </a:p>
          <a:p>
            <a:pPr algn="ctr"/>
            <a:r>
              <a:rPr lang="ru-RU" sz="2000" b="1" i="1" dirty="0" smtClean="0"/>
              <a:t>(распоряжение Правительства РФ от 30.06.2012 № 1144-р)</a:t>
            </a:r>
            <a:endParaRPr lang="ru-RU" sz="2000" b="1" i="1" dirty="0"/>
          </a:p>
        </p:txBody>
      </p:sp>
      <p:sp>
        <p:nvSpPr>
          <p:cNvPr id="10" name="Rectangle 36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96534" y="1310853"/>
            <a:ext cx="4129454" cy="461963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accent2">
                <a:lumMod val="40000"/>
                <a:lumOff val="60000"/>
              </a:schemeClr>
            </a:outerShdw>
          </a:effectLst>
        </p:spPr>
        <p:txBody>
          <a:bodyPr tIns="91440" bIns="91440" anchor="b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Общее описание проекта</a:t>
            </a:r>
          </a:p>
        </p:txBody>
      </p:sp>
      <p:sp>
        <p:nvSpPr>
          <p:cNvPr id="11" name="Text Box 3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7504" y="1772816"/>
            <a:ext cx="4366841" cy="332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288925" indent="-1746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88925" marR="0" lvl="1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 pitchFamily="34" charset="0"/>
              <a:buChar char="•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Проект призван облегчить условия подключения пользователей к энергетической инфраструктуре в России. Предлагается сделать процедуру подключения к энергосети более простой, быстрой, прозрачной, и менее затратной</a:t>
            </a:r>
          </a:p>
          <a:p>
            <a:pPr marL="288925" marR="0" lvl="1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 pitchFamily="34" charset="0"/>
              <a:buChar char="•"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  <a:p>
            <a:pPr marL="288925" marR="0" lvl="1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 pitchFamily="34" charset="0"/>
              <a:buChar char="•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Реализация проекта позволит добиться улучшения инвестиционного климата в России и как следствие повышение притока капитала в страну и рост уровня жизни</a:t>
            </a:r>
          </a:p>
          <a:p>
            <a:pPr marL="288925" marR="0" lvl="1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 pitchFamily="34" charset="0"/>
              <a:buChar char="•"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  <a:p>
            <a:pPr marL="288925" marR="0" lvl="1" indent="-1746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 pitchFamily="34" charset="0"/>
              <a:buChar char="•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В качестве контрольных показателей успешной реализации проекта выбран рейтинг</a:t>
            </a: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инвестиционной привлекательности,</a:t>
            </a: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подготавливаемый Всемирным банком</a:t>
            </a: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на ежегодной основе. Целевым ориентиром в соответствии с данным рейтингом выбрано включение России в 20 лучших стран.</a:t>
            </a:r>
          </a:p>
        </p:txBody>
      </p:sp>
      <p:sp>
        <p:nvSpPr>
          <p:cNvPr id="12" name="Rectangle 3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626746" y="1310853"/>
            <a:ext cx="4129454" cy="461963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accent2">
                <a:lumMod val="40000"/>
                <a:lumOff val="60000"/>
              </a:schemeClr>
            </a:outerShdw>
          </a:effectLst>
        </p:spPr>
        <p:txBody>
          <a:bodyPr tIns="91440" bIns="91440" anchor="b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Цели проекта</a:t>
            </a:r>
          </a:p>
        </p:txBody>
      </p:sp>
      <p:sp>
        <p:nvSpPr>
          <p:cNvPr id="13" name="Text Box 3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775999" y="1800393"/>
            <a:ext cx="4101611" cy="4508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tIns="91440" bIns="91440">
            <a:spAutoFit/>
          </a:bodyPr>
          <a:lstStyle>
            <a:lvl1pPr marL="85725" indent="-85725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202021"/>
                </a:solidFill>
                <a:effectLst/>
                <a:uLnTx/>
                <a:uFillTx/>
                <a:latin typeface="Arial" charset="0"/>
                <a:cs typeface="Arial" charset="0"/>
              </a:rPr>
              <a:t> Уменьшение количества этапов, необходимых для получения доступа к энергосети</a:t>
            </a: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202021"/>
              </a:solidFill>
              <a:effectLst/>
              <a:uLnTx/>
              <a:uFillTx/>
              <a:latin typeface="Arial" charset="0"/>
              <a:cs typeface="Arial" charset="0"/>
            </a:endParaRP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202021"/>
              </a:solidFill>
              <a:effectLst/>
              <a:uLnTx/>
              <a:uFillTx/>
              <a:latin typeface="Arial" charset="0"/>
              <a:cs typeface="Arial" charset="0"/>
            </a:endParaRP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202021"/>
              </a:solidFill>
              <a:effectLst/>
              <a:uLnTx/>
              <a:uFillTx/>
              <a:latin typeface="Arial" charset="0"/>
              <a:cs typeface="Arial" charset="0"/>
            </a:endParaRP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202021"/>
              </a:solidFill>
              <a:effectLst/>
              <a:uLnTx/>
              <a:uFillTx/>
              <a:latin typeface="Arial" charset="0"/>
              <a:cs typeface="Arial" charset="0"/>
            </a:endParaRP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202021"/>
                </a:solidFill>
                <a:effectLst/>
                <a:uLnTx/>
                <a:uFillTx/>
                <a:latin typeface="Arial" charset="0"/>
                <a:cs typeface="Arial" charset="0"/>
              </a:rPr>
              <a:t>Сокращение времени на прохождение всех этапов по получению доступа к энергосети (дни)</a:t>
            </a: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202021"/>
              </a:solidFill>
              <a:effectLst/>
              <a:uLnTx/>
              <a:uFillTx/>
              <a:latin typeface="Arial" charset="0"/>
              <a:cs typeface="Arial" charset="0"/>
            </a:endParaRP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202021"/>
              </a:solidFill>
              <a:effectLst/>
              <a:uLnTx/>
              <a:uFillTx/>
              <a:latin typeface="Arial" charset="0"/>
              <a:cs typeface="Arial" charset="0"/>
            </a:endParaRP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202021"/>
              </a:solidFill>
              <a:effectLst/>
              <a:uLnTx/>
              <a:uFillTx/>
              <a:latin typeface="Arial" charset="0"/>
              <a:cs typeface="Arial" charset="0"/>
            </a:endParaRP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202021"/>
              </a:solidFill>
              <a:effectLst/>
              <a:uLnTx/>
              <a:uFillTx/>
              <a:latin typeface="Arial" charset="0"/>
              <a:cs typeface="Arial" charset="0"/>
            </a:endParaRP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202021"/>
                </a:solidFill>
                <a:effectLst/>
                <a:uLnTx/>
                <a:uFillTx/>
                <a:latin typeface="Arial" charset="0"/>
                <a:cs typeface="Arial" charset="0"/>
              </a:rPr>
              <a:t>Снижение затрат на получение доступа к энергосети (процент от</a:t>
            </a:r>
            <a:r>
              <a:rPr kumimoji="0" lang="ru-RU" sz="1200" b="0" i="0" u="none" strike="noStrike" kern="0" cap="none" spc="0" normalizeH="0" noProof="0" dirty="0" smtClean="0">
                <a:ln>
                  <a:noFill/>
                </a:ln>
                <a:solidFill>
                  <a:srgbClr val="202021"/>
                </a:solidFill>
                <a:effectLst/>
                <a:uLnTx/>
                <a:uFillTx/>
                <a:latin typeface="Arial" charset="0"/>
                <a:cs typeface="Arial" charset="0"/>
              </a:rPr>
              <a:t> внутреннего валового продукта на душу населения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202021"/>
                </a:solidFill>
                <a:effectLst/>
                <a:uLnTx/>
                <a:uFillTx/>
                <a:latin typeface="Arial" charset="0"/>
                <a:cs typeface="Arial" charset="0"/>
              </a:rPr>
              <a:t>)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202021"/>
              </a:solidFill>
              <a:effectLst/>
              <a:uLnTx/>
              <a:uFillTx/>
              <a:latin typeface="Arial" charset="0"/>
              <a:cs typeface="Arial" charset="0"/>
            </a:endParaRP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202021"/>
              </a:solidFill>
              <a:effectLst/>
              <a:uLnTx/>
              <a:uFillTx/>
              <a:latin typeface="Arial" charset="0"/>
              <a:cs typeface="Arial" charset="0"/>
            </a:endParaRP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202021"/>
              </a:solidFill>
              <a:effectLst/>
              <a:uLnTx/>
              <a:uFillTx/>
              <a:latin typeface="Arial" charset="0"/>
              <a:cs typeface="Arial" charset="0"/>
            </a:endParaRPr>
          </a:p>
          <a:p>
            <a:pPr marL="85725" marR="0" lvl="0" indent="-8572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202021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16" name="AutoShape 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5400000">
            <a:off x="2356383" y="4017181"/>
            <a:ext cx="4507756" cy="36455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chemeClr val="tx2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822748" y="4160838"/>
            <a:ext cx="175846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5400" tIns="0" rIns="25400" bIns="0" anchor="b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Arial" charset="0"/>
            </a:endParaRPr>
          </a:p>
        </p:txBody>
      </p:sp>
      <p:sp>
        <p:nvSpPr>
          <p:cNvPr id="18" name="TextBox 13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195736" y="5995229"/>
            <a:ext cx="2015296" cy="489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tIns="90000" bIns="90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Рейтинг России по индикатору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 "Подключение к энергосетям"</a:t>
            </a:r>
          </a:p>
        </p:txBody>
      </p:sp>
      <p:graphicFrame>
        <p:nvGraphicFramePr>
          <p:cNvPr id="19" name="Диаграмма 18"/>
          <p:cNvGraphicFramePr/>
          <p:nvPr>
            <p:extLst>
              <p:ext uri="{D42A27DB-BD31-4B8C-83A1-F6EECF244321}">
                <p14:modId xmlns:p14="http://schemas.microsoft.com/office/powerpoint/2010/main" val="1659717324"/>
              </p:ext>
            </p:extLst>
          </p:nvPr>
        </p:nvGraphicFramePr>
        <p:xfrm>
          <a:off x="426550" y="5055949"/>
          <a:ext cx="3600400" cy="1428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0" name="Диаграмма 19"/>
          <p:cNvGraphicFramePr/>
          <p:nvPr>
            <p:extLst>
              <p:ext uri="{D42A27DB-BD31-4B8C-83A1-F6EECF244321}">
                <p14:modId xmlns:p14="http://schemas.microsoft.com/office/powerpoint/2010/main" val="2316421629"/>
              </p:ext>
            </p:extLst>
          </p:nvPr>
        </p:nvGraphicFramePr>
        <p:xfrm>
          <a:off x="4839378" y="2132856"/>
          <a:ext cx="3905250" cy="1095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21" name="Диаграмма 20"/>
          <p:cNvGraphicFramePr/>
          <p:nvPr>
            <p:extLst>
              <p:ext uri="{D42A27DB-BD31-4B8C-83A1-F6EECF244321}">
                <p14:modId xmlns:p14="http://schemas.microsoft.com/office/powerpoint/2010/main" val="3757966706"/>
              </p:ext>
            </p:extLst>
          </p:nvPr>
        </p:nvGraphicFramePr>
        <p:xfrm>
          <a:off x="4850950" y="3651769"/>
          <a:ext cx="3905250" cy="1095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22" name="Диаграмма 21"/>
          <p:cNvGraphicFramePr/>
          <p:nvPr>
            <p:extLst>
              <p:ext uri="{D42A27DB-BD31-4B8C-83A1-F6EECF244321}">
                <p14:modId xmlns:p14="http://schemas.microsoft.com/office/powerpoint/2010/main" val="2820881990"/>
              </p:ext>
            </p:extLst>
          </p:nvPr>
        </p:nvGraphicFramePr>
        <p:xfrm>
          <a:off x="4850950" y="5359275"/>
          <a:ext cx="3905250" cy="1095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</p:spTree>
    <p:extLst>
      <p:ext uri="{BB962C8B-B14F-4D97-AF65-F5344CB8AC3E}">
        <p14:creationId xmlns:p14="http://schemas.microsoft.com/office/powerpoint/2010/main" val="18514337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>
          <a:xfrm>
            <a:off x="4716016" y="4941168"/>
            <a:ext cx="4176000" cy="17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4000" indent="-144000">
              <a:spcAft>
                <a:spcPts val="300"/>
              </a:spcAft>
              <a:buFont typeface="Arial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</a:rPr>
              <a:t>предусмотрено право выбора заявителем вида ставки платы</a:t>
            </a:r>
          </a:p>
          <a:p>
            <a:pPr marL="144000" indent="-144000">
              <a:spcAft>
                <a:spcPts val="300"/>
              </a:spcAft>
              <a:buFont typeface="Arial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</a:rPr>
              <a:t>уточнен порядок формирования расходов сетевой </a:t>
            </a:r>
            <a:r>
              <a:rPr lang="ru-RU" sz="1300" dirty="0" smtClean="0">
                <a:solidFill>
                  <a:schemeClr val="tx1"/>
                </a:solidFill>
              </a:rPr>
              <a:t>организации по расчету ставок за 1 кВт</a:t>
            </a:r>
            <a:endParaRPr lang="ru-RU" sz="1300" dirty="0">
              <a:solidFill>
                <a:schemeClr val="tx1"/>
              </a:solidFill>
            </a:endParaRPr>
          </a:p>
          <a:p>
            <a:pPr marL="144000" indent="-144000">
              <a:spcAft>
                <a:spcPts val="300"/>
              </a:spcAft>
              <a:buFont typeface="Arial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</a:rPr>
              <a:t>определена структура ставок платы</a:t>
            </a:r>
          </a:p>
          <a:p>
            <a:pPr marL="144000" indent="-144000">
              <a:spcAft>
                <a:spcPts val="300"/>
              </a:spcAft>
              <a:buFont typeface="Arial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</a:rPr>
              <a:t>определен принцип расчета платы в случае, если срок выполнения мероприятий по технологическому присоединению более 1 </a:t>
            </a:r>
            <a:r>
              <a:rPr lang="ru-RU" sz="1300" dirty="0" smtClean="0">
                <a:solidFill>
                  <a:schemeClr val="tx1"/>
                </a:solidFill>
              </a:rPr>
              <a:t>года</a:t>
            </a:r>
            <a:endParaRPr lang="ru-RU" sz="1300" dirty="0">
              <a:solidFill>
                <a:schemeClr val="tx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52480" y="4941168"/>
            <a:ext cx="4175504" cy="17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4000" indent="-144000">
              <a:spcAft>
                <a:spcPts val="300"/>
              </a:spcAft>
              <a:buFont typeface="Arial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</a:rPr>
              <a:t>с 01.10.2015 – размер включаемой в состав платы инвестиционная составляющая на покрытие расходов на строительство «последней мили» не может составлять более 50% от величины указанных расходов</a:t>
            </a:r>
          </a:p>
          <a:p>
            <a:pPr marL="144000" indent="-144000">
              <a:spcAft>
                <a:spcPts val="300"/>
              </a:spcAft>
              <a:buFont typeface="Arial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</a:rPr>
              <a:t>с 01.10.2017 – в состав платы не включаются расходы, связанные со строительством «последней мили»</a:t>
            </a:r>
          </a:p>
        </p:txBody>
      </p:sp>
      <p:sp>
        <p:nvSpPr>
          <p:cNvPr id="11" name="Стрелка вниз 10"/>
          <p:cNvSpPr/>
          <p:nvPr/>
        </p:nvSpPr>
        <p:spPr>
          <a:xfrm>
            <a:off x="2051720" y="4581128"/>
            <a:ext cx="576064" cy="360040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трелка вниз 17"/>
          <p:cNvSpPr/>
          <p:nvPr/>
        </p:nvSpPr>
        <p:spPr>
          <a:xfrm>
            <a:off x="6516216" y="4581128"/>
            <a:ext cx="576064" cy="360040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251520" y="2340000"/>
            <a:ext cx="8640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4000" indent="-144000">
              <a:spcAft>
                <a:spcPts val="300"/>
              </a:spcAft>
              <a:buFont typeface="Arial" pitchFamily="34" charset="0"/>
              <a:buChar char="•"/>
            </a:pPr>
            <a:r>
              <a:rPr lang="ru-RU" sz="1300" dirty="0">
                <a:solidFill>
                  <a:schemeClr val="tx1"/>
                </a:solidFill>
              </a:rPr>
              <a:t>определен перечень расходов, относящихся к выпадающим </a:t>
            </a:r>
            <a:r>
              <a:rPr lang="ru-RU" sz="1300" dirty="0" smtClean="0">
                <a:solidFill>
                  <a:schemeClr val="tx1"/>
                </a:solidFill>
              </a:rPr>
              <a:t>доходам, связанным с технологическим присоединением, которые подлежат </a:t>
            </a:r>
            <a:r>
              <a:rPr lang="ru-RU" sz="1300" dirty="0">
                <a:solidFill>
                  <a:schemeClr val="tx1"/>
                </a:solidFill>
              </a:rPr>
              <a:t>компенсации за счет тарифов на услуги по передаче </a:t>
            </a:r>
            <a:r>
              <a:rPr lang="ru-RU" sz="1300" dirty="0" smtClean="0">
                <a:solidFill>
                  <a:schemeClr val="tx1"/>
                </a:solidFill>
              </a:rPr>
              <a:t>э/энергии</a:t>
            </a:r>
          </a:p>
          <a:p>
            <a:pPr marL="144000" indent="-144000">
              <a:spcAft>
                <a:spcPts val="300"/>
              </a:spcAft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tx1"/>
                </a:solidFill>
              </a:rPr>
              <a:t>определен </a:t>
            </a:r>
            <a:r>
              <a:rPr lang="ru-RU" sz="1300" dirty="0">
                <a:solidFill>
                  <a:schemeClr val="tx1"/>
                </a:solidFill>
              </a:rPr>
              <a:t>порядок расчета </a:t>
            </a:r>
            <a:r>
              <a:rPr lang="ru-RU" sz="1300" dirty="0" smtClean="0">
                <a:solidFill>
                  <a:schemeClr val="tx1"/>
                </a:solidFill>
              </a:rPr>
              <a:t>выпадающих доходов</a:t>
            </a:r>
          </a:p>
          <a:p>
            <a:pPr marL="144000" indent="-144000">
              <a:spcAft>
                <a:spcPts val="300"/>
              </a:spcAft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tx1"/>
                </a:solidFill>
              </a:rPr>
              <a:t>утверждены </a:t>
            </a:r>
            <a:r>
              <a:rPr lang="ru-RU" sz="1300" dirty="0">
                <a:solidFill>
                  <a:schemeClr val="tx1"/>
                </a:solidFill>
              </a:rPr>
              <a:t>формы для расчета </a:t>
            </a:r>
            <a:r>
              <a:rPr lang="ru-RU" sz="1300" dirty="0" smtClean="0">
                <a:solidFill>
                  <a:schemeClr val="tx1"/>
                </a:solidFill>
              </a:rPr>
              <a:t>выпадающих доходов</a:t>
            </a:r>
            <a:endParaRPr lang="ru-RU" sz="1300" dirty="0">
              <a:solidFill>
                <a:schemeClr val="tx1"/>
              </a:solidFill>
            </a:endParaRPr>
          </a:p>
        </p:txBody>
      </p:sp>
      <p:sp>
        <p:nvSpPr>
          <p:cNvPr id="4" name="Стрелка вниз 3"/>
          <p:cNvSpPr/>
          <p:nvPr/>
        </p:nvSpPr>
        <p:spPr>
          <a:xfrm>
            <a:off x="4283968" y="1997872"/>
            <a:ext cx="576064" cy="360040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4" name="Picture 2" descr="C:\Documents and Settings\yuriryab\Рабочий стол\Шаблон-Мурманск-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1800" y="0"/>
            <a:ext cx="1092200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72" name="Прямоугольник 14"/>
          <p:cNvSpPr>
            <a:spLocks noChangeArrowheads="1"/>
          </p:cNvSpPr>
          <p:nvPr/>
        </p:nvSpPr>
        <p:spPr bwMode="auto">
          <a:xfrm>
            <a:off x="0" y="107340"/>
            <a:ext cx="802798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cap="all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Последние Изменения законодательства в области ТП</a:t>
            </a:r>
            <a:endParaRPr lang="en-US" cap="all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Line 4"/>
          <p:cNvSpPr>
            <a:spLocks noChangeShapeType="1"/>
          </p:cNvSpPr>
          <p:nvPr/>
        </p:nvSpPr>
        <p:spPr bwMode="auto">
          <a:xfrm>
            <a:off x="0" y="548680"/>
            <a:ext cx="673258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252480" y="773736"/>
            <a:ext cx="8640000" cy="57606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600" dirty="0" smtClean="0">
                <a:solidFill>
                  <a:schemeClr val="tx1"/>
                </a:solidFill>
              </a:rPr>
              <a:t>Определение порядка компенсации </a:t>
            </a:r>
            <a:r>
              <a:rPr lang="ru-RU" sz="1600" dirty="0">
                <a:solidFill>
                  <a:schemeClr val="tx1"/>
                </a:solidFill>
              </a:rPr>
              <a:t>сетевым организациям выпадающих доходов, связанных с </a:t>
            </a:r>
            <a:r>
              <a:rPr lang="ru-RU" sz="1600" dirty="0" smtClean="0">
                <a:solidFill>
                  <a:schemeClr val="tx1"/>
                </a:solidFill>
              </a:rPr>
              <a:t>технологическим присоединением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51520" y="1349800"/>
            <a:ext cx="8640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300" dirty="0">
                <a:solidFill>
                  <a:schemeClr val="tx1"/>
                </a:solidFill>
              </a:rPr>
              <a:t>Приказом ФСТ России от 11.09.2014 № 215-э/1 утверждены Методические указания </a:t>
            </a:r>
            <a:r>
              <a:rPr lang="ru-RU" sz="1300" dirty="0" smtClean="0">
                <a:solidFill>
                  <a:schemeClr val="tx1"/>
                </a:solidFill>
              </a:rPr>
              <a:t/>
            </a:r>
            <a:br>
              <a:rPr lang="ru-RU" sz="1300" dirty="0" smtClean="0">
                <a:solidFill>
                  <a:schemeClr val="tx1"/>
                </a:solidFill>
              </a:rPr>
            </a:br>
            <a:r>
              <a:rPr lang="ru-RU" sz="1300" dirty="0" smtClean="0">
                <a:solidFill>
                  <a:schemeClr val="tx1"/>
                </a:solidFill>
              </a:rPr>
              <a:t>по </a:t>
            </a:r>
            <a:r>
              <a:rPr lang="ru-RU" sz="1300" dirty="0">
                <a:solidFill>
                  <a:schemeClr val="tx1"/>
                </a:solidFill>
              </a:rPr>
              <a:t>определению выпадающих доходов, связанных с осуществлением технологического </a:t>
            </a:r>
            <a:r>
              <a:rPr lang="ru-RU" sz="1300" dirty="0" smtClean="0">
                <a:solidFill>
                  <a:schemeClr val="tx1"/>
                </a:solidFill>
              </a:rPr>
              <a:t>присоединения</a:t>
            </a:r>
            <a:br>
              <a:rPr lang="ru-RU" sz="1300" dirty="0" smtClean="0">
                <a:solidFill>
                  <a:schemeClr val="tx1"/>
                </a:solidFill>
              </a:rPr>
            </a:br>
            <a:r>
              <a:rPr lang="ru-RU" sz="1300" dirty="0" smtClean="0">
                <a:solidFill>
                  <a:schemeClr val="tx1"/>
                </a:solidFill>
              </a:rPr>
              <a:t>к </a:t>
            </a:r>
            <a:r>
              <a:rPr lang="ru-RU" sz="1300" dirty="0">
                <a:solidFill>
                  <a:schemeClr val="tx1"/>
                </a:solidFill>
              </a:rPr>
              <a:t>электрическим сетям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52480" y="3501008"/>
            <a:ext cx="4175504" cy="108012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600" dirty="0">
                <a:solidFill>
                  <a:schemeClr val="tx1"/>
                </a:solidFill>
              </a:rPr>
              <a:t>Снижение </a:t>
            </a:r>
            <a:r>
              <a:rPr lang="ru-RU" sz="1600" dirty="0" smtClean="0">
                <a:solidFill>
                  <a:schemeClr val="tx1"/>
                </a:solidFill>
              </a:rPr>
              <a:t>платы за технологическое присоединение </a:t>
            </a:r>
            <a:r>
              <a:rPr lang="ru-RU" sz="1600" dirty="0">
                <a:solidFill>
                  <a:schemeClr val="tx1"/>
                </a:solidFill>
              </a:rPr>
              <a:t>для потребителей с мощностью энергопринимающих устройств не более 150 кВт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716480" y="3501008"/>
            <a:ext cx="4176000" cy="108012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600" dirty="0">
                <a:solidFill>
                  <a:schemeClr val="tx1"/>
                </a:solidFill>
              </a:rPr>
              <a:t>Изменение Методических </a:t>
            </a:r>
            <a:r>
              <a:rPr lang="ru-RU" sz="1600" dirty="0" smtClean="0">
                <a:solidFill>
                  <a:schemeClr val="tx1"/>
                </a:solidFill>
              </a:rPr>
              <a:t>указаний</a:t>
            </a:r>
            <a:br>
              <a:rPr lang="ru-RU" sz="1600" dirty="0" smtClean="0">
                <a:solidFill>
                  <a:schemeClr val="tx1"/>
                </a:solidFill>
              </a:rPr>
            </a:br>
            <a:r>
              <a:rPr lang="ru-RU" sz="1600" dirty="0" smtClean="0">
                <a:solidFill>
                  <a:schemeClr val="tx1"/>
                </a:solidFill>
              </a:rPr>
              <a:t>по </a:t>
            </a:r>
            <a:r>
              <a:rPr lang="ru-RU" sz="1600" dirty="0">
                <a:solidFill>
                  <a:schemeClr val="tx1"/>
                </a:solidFill>
              </a:rPr>
              <a:t>определению размера платы за технологическое присоединение к электрическим сетям</a:t>
            </a:r>
          </a:p>
        </p:txBody>
      </p:sp>
    </p:spTree>
    <p:extLst>
      <p:ext uri="{BB962C8B-B14F-4D97-AF65-F5344CB8AC3E}">
        <p14:creationId xmlns:p14="http://schemas.microsoft.com/office/powerpoint/2010/main" val="32290674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252480" y="1196752"/>
            <a:ext cx="4175504" cy="108012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600" dirty="0">
                <a:solidFill>
                  <a:schemeClr val="tx1"/>
                </a:solidFill>
              </a:rPr>
              <a:t>Проект Федерального закона </a:t>
            </a:r>
          </a:p>
          <a:p>
            <a:pPr lvl="0" algn="ctr"/>
            <a:r>
              <a:rPr lang="ru-RU" sz="1600" dirty="0">
                <a:solidFill>
                  <a:schemeClr val="tx1"/>
                </a:solidFill>
              </a:rPr>
              <a:t>№ 632829-6 «О внесении изменений в Федеральный закон </a:t>
            </a:r>
            <a:r>
              <a:rPr lang="ru-RU" sz="1600" dirty="0" smtClean="0">
                <a:solidFill>
                  <a:schemeClr val="tx1"/>
                </a:solidFill>
              </a:rPr>
              <a:t/>
            </a:r>
            <a:br>
              <a:rPr lang="ru-RU" sz="1600" dirty="0" smtClean="0">
                <a:solidFill>
                  <a:schemeClr val="tx1"/>
                </a:solidFill>
              </a:rPr>
            </a:br>
            <a:r>
              <a:rPr lang="ru-RU" sz="1600" dirty="0" smtClean="0">
                <a:solidFill>
                  <a:schemeClr val="tx1"/>
                </a:solidFill>
              </a:rPr>
              <a:t>«</a:t>
            </a:r>
            <a:r>
              <a:rPr lang="ru-RU" sz="1600" dirty="0">
                <a:solidFill>
                  <a:schemeClr val="tx1"/>
                </a:solidFill>
              </a:rPr>
              <a:t>Об электроэнергетике»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716016" y="5229360"/>
            <a:ext cx="4178041" cy="1440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08000" lvl="0" indent="-108000">
              <a:spcAft>
                <a:spcPts val="600"/>
              </a:spcAft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</a:rPr>
              <a:t>урегулирование отношений потребителей, сетевых организаций и генерирующих компаний в части осуществления ТП к объектам последних</a:t>
            </a:r>
          </a:p>
          <a:p>
            <a:pPr marL="108000" lvl="0" indent="-108000">
              <a:spcAft>
                <a:spcPts val="600"/>
              </a:spcAft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</a:rPr>
              <a:t>установление экономически обоснованного размера платы</a:t>
            </a:r>
          </a:p>
          <a:p>
            <a:pPr marL="108000" lvl="0" indent="-108000">
              <a:buFont typeface="Arial" pitchFamily="34" charset="0"/>
              <a:buChar char="•"/>
            </a:pPr>
            <a:endParaRPr lang="ru-RU" sz="1400" dirty="0">
              <a:solidFill>
                <a:schemeClr val="tx1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52480" y="5229200"/>
            <a:ext cx="4175504" cy="14401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8000" indent="-108000">
              <a:spcAft>
                <a:spcPts val="1800"/>
              </a:spcAft>
              <a:buFont typeface="Arial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</a:rPr>
              <a:t>повышение прозрачности уровня платы за технологическое </a:t>
            </a:r>
            <a:r>
              <a:rPr lang="ru-RU" sz="1400" dirty="0" smtClean="0">
                <a:solidFill>
                  <a:schemeClr val="tx1"/>
                </a:solidFill>
              </a:rPr>
              <a:t>присоединение</a:t>
            </a:r>
          </a:p>
          <a:p>
            <a:pPr marL="108000" indent="-108000">
              <a:spcAft>
                <a:spcPts val="1800"/>
              </a:spcAft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</a:rPr>
              <a:t>расчет платы для вновь образованных территориальных сетевых организаций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8" name="Стрелка вниз 7"/>
          <p:cNvSpPr/>
          <p:nvPr/>
        </p:nvSpPr>
        <p:spPr>
          <a:xfrm>
            <a:off x="6444208" y="4788000"/>
            <a:ext cx="648072" cy="432048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Стрелка вниз 2"/>
          <p:cNvSpPr/>
          <p:nvPr/>
        </p:nvSpPr>
        <p:spPr>
          <a:xfrm>
            <a:off x="1979712" y="4788000"/>
            <a:ext cx="648072" cy="432048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4" name="Picture 2" descr="C:\Documents and Settings\yuriryab\Рабочий стол\Шаблон-Мурманск-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1800" y="0"/>
            <a:ext cx="1092200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72" name="Прямоугольник 14"/>
          <p:cNvSpPr>
            <a:spLocks noChangeArrowheads="1"/>
          </p:cNvSpPr>
          <p:nvPr/>
        </p:nvSpPr>
        <p:spPr bwMode="auto">
          <a:xfrm>
            <a:off x="0" y="107340"/>
            <a:ext cx="802798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cap="all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Проекты федеральных законов </a:t>
            </a:r>
            <a:endParaRPr lang="en-US" cap="all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Line 4"/>
          <p:cNvSpPr>
            <a:spLocks noChangeShapeType="1"/>
          </p:cNvSpPr>
          <p:nvPr/>
        </p:nvSpPr>
        <p:spPr bwMode="auto">
          <a:xfrm>
            <a:off x="0" y="548680"/>
            <a:ext cx="673258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-36512" y="692696"/>
            <a:ext cx="9144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i="1" dirty="0" smtClean="0"/>
              <a:t>Приняты Государственной </a:t>
            </a:r>
            <a:r>
              <a:rPr lang="ru-RU" sz="2000" b="1" i="1" dirty="0"/>
              <a:t>Думой </a:t>
            </a:r>
            <a:r>
              <a:rPr lang="ru-RU" sz="2000" b="1" i="1" dirty="0" smtClean="0"/>
              <a:t>в </a:t>
            </a:r>
            <a:r>
              <a:rPr lang="ru-RU" sz="2000" b="1" i="1" dirty="0"/>
              <a:t>первом чтении </a:t>
            </a:r>
            <a:r>
              <a:rPr lang="ru-RU" sz="2000" b="1" i="1" dirty="0" smtClean="0"/>
              <a:t>28.01.2015</a:t>
            </a:r>
            <a:endParaRPr lang="ru-RU" sz="2000" b="1" i="1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252480" y="2276872"/>
            <a:ext cx="4175504" cy="25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4000" indent="-144000">
              <a:spcAft>
                <a:spcPts val="1200"/>
              </a:spcAft>
              <a:buFont typeface="Arial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</a:rPr>
              <a:t>установление на территории субъекта РФ унифицированных стандартизированных тарифных ставок для всех территориальных сетевых организаций на едином уровне</a:t>
            </a:r>
          </a:p>
          <a:p>
            <a:pPr marL="144000" indent="-144000">
              <a:spcAft>
                <a:spcPts val="1200"/>
              </a:spcAft>
              <a:buFont typeface="Arial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</a:rPr>
              <a:t>дифференциация единых стандартизированных тарифных </a:t>
            </a:r>
            <a:r>
              <a:rPr lang="ru-RU" sz="1400" dirty="0" smtClean="0">
                <a:solidFill>
                  <a:schemeClr val="tx1"/>
                </a:solidFill>
              </a:rPr>
              <a:t>ставок будет предусмотрена Основами </a:t>
            </a:r>
            <a:r>
              <a:rPr lang="ru-RU" sz="1400" dirty="0">
                <a:solidFill>
                  <a:schemeClr val="tx1"/>
                </a:solidFill>
              </a:rPr>
              <a:t>ценообразования в области регулируемых цен (тарифов) в электроэнергетике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716016" y="1196752"/>
            <a:ext cx="4175504" cy="108012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600" dirty="0">
                <a:solidFill>
                  <a:schemeClr val="tx1"/>
                </a:solidFill>
              </a:rPr>
              <a:t>Проект Федерального закона </a:t>
            </a:r>
          </a:p>
          <a:p>
            <a:pPr lvl="0" algn="ctr"/>
            <a:r>
              <a:rPr lang="ru-RU" sz="1600" dirty="0">
                <a:solidFill>
                  <a:schemeClr val="tx1"/>
                </a:solidFill>
              </a:rPr>
              <a:t>№ 632833-6 «О внесении изменений в Федеральный закон </a:t>
            </a:r>
            <a:r>
              <a:rPr lang="ru-RU" sz="1600" dirty="0" smtClean="0">
                <a:solidFill>
                  <a:schemeClr val="tx1"/>
                </a:solidFill>
              </a:rPr>
              <a:t/>
            </a:r>
            <a:br>
              <a:rPr lang="ru-RU" sz="1600" dirty="0" smtClean="0">
                <a:solidFill>
                  <a:schemeClr val="tx1"/>
                </a:solidFill>
              </a:rPr>
            </a:br>
            <a:r>
              <a:rPr lang="ru-RU" sz="1600" dirty="0" smtClean="0">
                <a:solidFill>
                  <a:schemeClr val="tx1"/>
                </a:solidFill>
              </a:rPr>
              <a:t>«</a:t>
            </a:r>
            <a:r>
              <a:rPr lang="ru-RU" sz="1600" dirty="0">
                <a:solidFill>
                  <a:schemeClr val="tx1"/>
                </a:solidFill>
              </a:rPr>
              <a:t>Об электроэнергетике»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4716016" y="2276872"/>
            <a:ext cx="4175504" cy="25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4000" indent="-144000">
              <a:spcAft>
                <a:spcPts val="300"/>
              </a:spcAft>
              <a:buFont typeface="Arial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</a:rPr>
              <a:t>установление </a:t>
            </a:r>
            <a:r>
              <a:rPr lang="ru-RU" sz="1400" dirty="0" smtClean="0">
                <a:solidFill>
                  <a:schemeClr val="tx1"/>
                </a:solidFill>
              </a:rPr>
              <a:t>возможности ТП потребителей </a:t>
            </a:r>
            <a:r>
              <a:rPr lang="ru-RU" sz="1400" dirty="0">
                <a:solidFill>
                  <a:schemeClr val="tx1"/>
                </a:solidFill>
              </a:rPr>
              <a:t>к </a:t>
            </a:r>
            <a:r>
              <a:rPr lang="ru-RU" sz="1400" dirty="0" err="1" smtClean="0">
                <a:solidFill>
                  <a:schemeClr val="tx1"/>
                </a:solidFill>
              </a:rPr>
              <a:t>распредустройствам</a:t>
            </a:r>
            <a:r>
              <a:rPr lang="ru-RU" sz="1400" dirty="0" smtClean="0">
                <a:solidFill>
                  <a:schemeClr val="tx1"/>
                </a:solidFill>
              </a:rPr>
              <a:t> объектов генерации </a:t>
            </a:r>
            <a:r>
              <a:rPr lang="ru-RU" sz="1400" dirty="0">
                <a:solidFill>
                  <a:schemeClr val="tx1"/>
                </a:solidFill>
              </a:rPr>
              <a:t>через сетевые организации с обязательством последних урегулировать отношения с владельцами </a:t>
            </a:r>
            <a:r>
              <a:rPr lang="ru-RU" sz="1400" dirty="0" err="1" smtClean="0">
                <a:solidFill>
                  <a:schemeClr val="tx1"/>
                </a:solidFill>
              </a:rPr>
              <a:t>распредустройств</a:t>
            </a:r>
            <a:r>
              <a:rPr lang="ru-RU" sz="1400" dirty="0" smtClean="0">
                <a:solidFill>
                  <a:schemeClr val="tx1"/>
                </a:solidFill>
              </a:rPr>
              <a:t> </a:t>
            </a:r>
            <a:r>
              <a:rPr lang="ru-RU" sz="1400" dirty="0">
                <a:solidFill>
                  <a:schemeClr val="tx1"/>
                </a:solidFill>
              </a:rPr>
              <a:t>объектов генерации - по принципу </a:t>
            </a:r>
            <a:r>
              <a:rPr lang="ru-RU" sz="1400" dirty="0" smtClean="0">
                <a:solidFill>
                  <a:schemeClr val="tx1"/>
                </a:solidFill>
              </a:rPr>
              <a:t>«одного окна»</a:t>
            </a:r>
            <a:endParaRPr lang="ru-RU" sz="1400" dirty="0">
              <a:solidFill>
                <a:schemeClr val="tx1"/>
              </a:solidFill>
            </a:endParaRPr>
          </a:p>
          <a:p>
            <a:pPr marL="144000" indent="-144000">
              <a:spcAft>
                <a:spcPts val="300"/>
              </a:spcAft>
              <a:buFont typeface="Arial" pitchFamily="34" charset="0"/>
              <a:buChar char="•"/>
            </a:pPr>
            <a:r>
              <a:rPr lang="ru-RU" sz="1400" dirty="0">
                <a:solidFill>
                  <a:schemeClr val="tx1"/>
                </a:solidFill>
              </a:rPr>
              <a:t>предоставление регулирующим органам права учитывать в составе платы за </a:t>
            </a:r>
            <a:r>
              <a:rPr lang="ru-RU" sz="1400" dirty="0" smtClean="0">
                <a:solidFill>
                  <a:schemeClr val="tx1"/>
                </a:solidFill>
              </a:rPr>
              <a:t>ТП к </a:t>
            </a:r>
            <a:r>
              <a:rPr lang="ru-RU" sz="1400" dirty="0" err="1" smtClean="0">
                <a:solidFill>
                  <a:schemeClr val="tx1"/>
                </a:solidFill>
              </a:rPr>
              <a:t>распредустройствам</a:t>
            </a:r>
            <a:r>
              <a:rPr lang="ru-RU" sz="1400" dirty="0" smtClean="0">
                <a:solidFill>
                  <a:schemeClr val="tx1"/>
                </a:solidFill>
              </a:rPr>
              <a:t> объектов </a:t>
            </a:r>
            <a:r>
              <a:rPr lang="ru-RU" sz="1400" dirty="0">
                <a:solidFill>
                  <a:schemeClr val="tx1"/>
                </a:solidFill>
              </a:rPr>
              <a:t>генерации расходы на строительство и (или) </a:t>
            </a:r>
            <a:r>
              <a:rPr lang="ru-RU" sz="1400" dirty="0" smtClean="0">
                <a:solidFill>
                  <a:schemeClr val="tx1"/>
                </a:solidFill>
              </a:rPr>
              <a:t>реконструкцию</a:t>
            </a:r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2401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>
          <a:xfrm>
            <a:off x="251520" y="3573016"/>
            <a:ext cx="8640000" cy="828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600" dirty="0" smtClean="0">
                <a:solidFill>
                  <a:schemeClr val="tx1"/>
                </a:solidFill>
              </a:rPr>
              <a:t>Введение </a:t>
            </a:r>
            <a:r>
              <a:rPr lang="ru-RU" sz="1600" dirty="0">
                <a:solidFill>
                  <a:schemeClr val="tx1"/>
                </a:solidFill>
              </a:rPr>
              <a:t>механизма экономической ответственности сторон договора о технологическом присоединении к электрической сети за несоблюдение сроков технологического присоединения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52480" y="692696"/>
            <a:ext cx="8640000" cy="129614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600" dirty="0">
                <a:solidFill>
                  <a:schemeClr val="tx1"/>
                </a:solidFill>
              </a:rPr>
              <a:t>На официальном сайте regulation.gov.ru </a:t>
            </a:r>
            <a:r>
              <a:rPr lang="ru-RU" sz="1600" dirty="0" smtClean="0">
                <a:solidFill>
                  <a:schemeClr val="tx1"/>
                </a:solidFill>
              </a:rPr>
              <a:t>размещен</a:t>
            </a:r>
            <a:r>
              <a:rPr lang="ru-RU" sz="1600" dirty="0">
                <a:solidFill>
                  <a:schemeClr val="tx1"/>
                </a:solidFill>
              </a:rPr>
              <a:t/>
            </a:r>
            <a:br>
              <a:rPr lang="ru-RU" sz="1600" dirty="0">
                <a:solidFill>
                  <a:schemeClr val="tx1"/>
                </a:solidFill>
              </a:rPr>
            </a:br>
            <a:r>
              <a:rPr lang="ru-RU" sz="1600" dirty="0">
                <a:solidFill>
                  <a:schemeClr val="tx1"/>
                </a:solidFill>
              </a:rPr>
              <a:t>проект Федерального закона </a:t>
            </a:r>
            <a:r>
              <a:rPr lang="ru-RU" sz="1600" dirty="0" smtClean="0">
                <a:solidFill>
                  <a:schemeClr val="tx1"/>
                </a:solidFill>
              </a:rPr>
              <a:t>«О </a:t>
            </a:r>
            <a:r>
              <a:rPr lang="ru-RU" sz="1600" dirty="0">
                <a:solidFill>
                  <a:schemeClr val="tx1"/>
                </a:solidFill>
              </a:rPr>
              <a:t>внесении изменений в Федеральный закон </a:t>
            </a:r>
            <a:r>
              <a:rPr lang="ru-RU" sz="1600" dirty="0" smtClean="0">
                <a:solidFill>
                  <a:schemeClr val="tx1"/>
                </a:solidFill>
              </a:rPr>
              <a:t/>
            </a:r>
            <a:br>
              <a:rPr lang="ru-RU" sz="1600" dirty="0" smtClean="0">
                <a:solidFill>
                  <a:schemeClr val="tx1"/>
                </a:solidFill>
              </a:rPr>
            </a:br>
            <a:r>
              <a:rPr lang="ru-RU" sz="1600" dirty="0" smtClean="0">
                <a:solidFill>
                  <a:schemeClr val="tx1"/>
                </a:solidFill>
              </a:rPr>
              <a:t>«</a:t>
            </a:r>
            <a:r>
              <a:rPr lang="ru-RU" sz="1600" dirty="0">
                <a:solidFill>
                  <a:schemeClr val="tx1"/>
                </a:solidFill>
              </a:rPr>
              <a:t>Об электроэнергетике» в целях формирования ответственности за несоблюдение сроков осуществления мероприятий по технологическому </a:t>
            </a:r>
            <a:r>
              <a:rPr lang="ru-RU" sz="1600" dirty="0" smtClean="0">
                <a:solidFill>
                  <a:schemeClr val="tx1"/>
                </a:solidFill>
              </a:rPr>
              <a:t>присоединению</a:t>
            </a:r>
          </a:p>
          <a:p>
            <a:pPr lvl="0" algn="ctr"/>
            <a:r>
              <a:rPr lang="ru-RU" sz="1600" dirty="0">
                <a:solidFill>
                  <a:schemeClr val="tx1"/>
                </a:solidFill>
              </a:rPr>
              <a:t>(№ </a:t>
            </a:r>
            <a:r>
              <a:rPr lang="ru-RU" sz="1600" dirty="0" smtClean="0">
                <a:solidFill>
                  <a:schemeClr val="tx1"/>
                </a:solidFill>
              </a:rPr>
              <a:t>00/03-11873/01-14/15-13-4)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51520" y="4401016"/>
            <a:ext cx="8640000" cy="219633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ru-RU" sz="1400" dirty="0">
                <a:solidFill>
                  <a:schemeClr val="tx1"/>
                </a:solidFill>
              </a:rPr>
              <a:t>Предполагается ввести следующие меры ответственности:</a:t>
            </a:r>
          </a:p>
          <a:p>
            <a:pPr marL="108000" indent="-108000">
              <a:spcAft>
                <a:spcPts val="600"/>
              </a:spcAft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</a:rPr>
              <a:t>в </a:t>
            </a:r>
            <a:r>
              <a:rPr lang="ru-RU" sz="1400" dirty="0">
                <a:solidFill>
                  <a:schemeClr val="tx1"/>
                </a:solidFill>
              </a:rPr>
              <a:t>случае если сроки технологического присоединения нарушены сетевой организации – она обязана компенсировать потребителю затраты на организацию независимого электроснабжения его энергопринимающих устройств до завершения процедуры технологического </a:t>
            </a:r>
            <a:r>
              <a:rPr lang="ru-RU" sz="1400" dirty="0" smtClean="0">
                <a:solidFill>
                  <a:schemeClr val="tx1"/>
                </a:solidFill>
              </a:rPr>
              <a:t>присоединения</a:t>
            </a:r>
            <a:endParaRPr lang="ru-RU" sz="1400" dirty="0">
              <a:solidFill>
                <a:schemeClr val="tx1"/>
              </a:solidFill>
            </a:endParaRPr>
          </a:p>
          <a:p>
            <a:pPr marL="108000" indent="-108000">
              <a:spcAft>
                <a:spcPts val="600"/>
              </a:spcAft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</a:rPr>
              <a:t>в </a:t>
            </a:r>
            <a:r>
              <a:rPr lang="ru-RU" sz="1400" dirty="0">
                <a:solidFill>
                  <a:schemeClr val="tx1"/>
                </a:solidFill>
              </a:rPr>
              <a:t>случае если сроки технологического присоединения нарушены потребителем – сетевая организация вправе в одностороннем внесудебном порядке отказаться от исполнения обязательств по договору об осуществлении технологического присоединения, а потребитель обязан компенсировать сетевой организации часть расходов на фактически выполненные работы по технологическому </a:t>
            </a:r>
            <a:r>
              <a:rPr lang="ru-RU" sz="1400" dirty="0" smtClean="0">
                <a:solidFill>
                  <a:schemeClr val="tx1"/>
                </a:solidFill>
              </a:rPr>
              <a:t>присоединению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3" name="Стрелка вниз 2"/>
          <p:cNvSpPr/>
          <p:nvPr/>
        </p:nvSpPr>
        <p:spPr>
          <a:xfrm>
            <a:off x="4211960" y="3140968"/>
            <a:ext cx="648072" cy="432048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4" name="Picture 2" descr="C:\Documents and Settings\yuriryab\Рабочий стол\Шаблон-Мурманск-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1800" y="0"/>
            <a:ext cx="1092200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72" name="Прямоугольник 14"/>
          <p:cNvSpPr>
            <a:spLocks noChangeArrowheads="1"/>
          </p:cNvSpPr>
          <p:nvPr/>
        </p:nvSpPr>
        <p:spPr bwMode="auto">
          <a:xfrm>
            <a:off x="0" y="107340"/>
            <a:ext cx="802798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cap="all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Проекты федеральных законов </a:t>
            </a:r>
            <a:endParaRPr lang="en-US" cap="all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Line 4"/>
          <p:cNvSpPr>
            <a:spLocks noChangeShapeType="1"/>
          </p:cNvSpPr>
          <p:nvPr/>
        </p:nvSpPr>
        <p:spPr bwMode="auto">
          <a:xfrm>
            <a:off x="0" y="548680"/>
            <a:ext cx="673258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252480" y="1988840"/>
            <a:ext cx="8640000" cy="115212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0"/>
              </a:spcAft>
            </a:pPr>
            <a:r>
              <a:rPr lang="ru-RU" sz="1400" dirty="0">
                <a:solidFill>
                  <a:schemeClr val="tx1"/>
                </a:solidFill>
              </a:rPr>
              <a:t>В развитие Федерального закона </a:t>
            </a:r>
            <a:r>
              <a:rPr lang="ru-RU" sz="1400" dirty="0" smtClean="0">
                <a:solidFill>
                  <a:schemeClr val="tx1"/>
                </a:solidFill>
              </a:rPr>
              <a:t/>
            </a:r>
            <a:br>
              <a:rPr lang="ru-RU" sz="1400" dirty="0" smtClean="0">
                <a:solidFill>
                  <a:schemeClr val="tx1"/>
                </a:solidFill>
              </a:rPr>
            </a:br>
            <a:r>
              <a:rPr lang="ru-RU" sz="1400" dirty="0" smtClean="0">
                <a:solidFill>
                  <a:schemeClr val="tx1"/>
                </a:solidFill>
              </a:rPr>
              <a:t>размещен </a:t>
            </a:r>
            <a:r>
              <a:rPr lang="ru-RU" sz="1400" dirty="0">
                <a:solidFill>
                  <a:schemeClr val="tx1"/>
                </a:solidFill>
              </a:rPr>
              <a:t>проект постановления Правительства Российской Федерации «О внесении изменений в некоторые акты Правительства Российской Федерации по вопросам формирования ответственности за несоблюдение сроков осуществления мероприятий по технологическому присоединению</a:t>
            </a:r>
            <a:r>
              <a:rPr lang="ru-RU" sz="1400" dirty="0" smtClean="0">
                <a:solidFill>
                  <a:schemeClr val="tx1"/>
                </a:solidFill>
              </a:rPr>
              <a:t>»</a:t>
            </a:r>
          </a:p>
          <a:p>
            <a:pPr algn="ctr">
              <a:spcAft>
                <a:spcPts val="0"/>
              </a:spcAft>
            </a:pPr>
            <a:r>
              <a:rPr lang="ru-RU" sz="1400" dirty="0">
                <a:solidFill>
                  <a:schemeClr val="tx1"/>
                </a:solidFill>
              </a:rPr>
              <a:t>(№ </a:t>
            </a:r>
            <a:r>
              <a:rPr lang="ru-RU" sz="1400" dirty="0" smtClean="0">
                <a:solidFill>
                  <a:schemeClr val="tx1"/>
                </a:solidFill>
              </a:rPr>
              <a:t>00/03-17484/08-14/15-17-3)</a:t>
            </a:r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34698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251520" y="2276872"/>
            <a:ext cx="8640000" cy="32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600" dirty="0">
                <a:solidFill>
                  <a:schemeClr val="tx1"/>
                </a:solidFill>
              </a:rPr>
              <a:t>Негативные последствия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51520" y="4005064"/>
            <a:ext cx="8640000" cy="32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600" dirty="0" smtClean="0">
                <a:solidFill>
                  <a:schemeClr val="tx1"/>
                </a:solidFill>
              </a:rPr>
              <a:t>Рост расходов, не учитываемых в плате за технологическое присоединение 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52000" y="5256000"/>
            <a:ext cx="8640000" cy="75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600" dirty="0">
                <a:solidFill>
                  <a:schemeClr val="tx1"/>
                </a:solidFill>
              </a:rPr>
              <a:t>На официальном сайте regulation.gov.ru для обсуждения </a:t>
            </a:r>
            <a:r>
              <a:rPr lang="ru-RU" sz="1600" dirty="0" smtClean="0">
                <a:solidFill>
                  <a:schemeClr val="tx1"/>
                </a:solidFill>
              </a:rPr>
              <a:t>размещен</a:t>
            </a:r>
            <a:br>
              <a:rPr lang="ru-RU" sz="1600" dirty="0" smtClean="0">
                <a:solidFill>
                  <a:schemeClr val="tx1"/>
                </a:solidFill>
              </a:rPr>
            </a:br>
            <a:r>
              <a:rPr lang="ru-RU" sz="1600" dirty="0" smtClean="0">
                <a:solidFill>
                  <a:schemeClr val="tx1"/>
                </a:solidFill>
              </a:rPr>
              <a:t>проект </a:t>
            </a:r>
            <a:r>
              <a:rPr lang="ru-RU" sz="1600" dirty="0">
                <a:solidFill>
                  <a:schemeClr val="tx1"/>
                </a:solidFill>
              </a:rPr>
              <a:t>Федерального закона «О внесении изменений в статью 23.2 </a:t>
            </a:r>
            <a:r>
              <a:rPr lang="ru-RU" sz="1600" dirty="0" smtClean="0">
                <a:solidFill>
                  <a:schemeClr val="tx1"/>
                </a:solidFill>
              </a:rPr>
              <a:t/>
            </a:r>
            <a:br>
              <a:rPr lang="ru-RU" sz="1600" dirty="0" smtClean="0">
                <a:solidFill>
                  <a:schemeClr val="tx1"/>
                </a:solidFill>
              </a:rPr>
            </a:br>
            <a:r>
              <a:rPr lang="ru-RU" sz="1600" dirty="0" smtClean="0">
                <a:solidFill>
                  <a:schemeClr val="tx1"/>
                </a:solidFill>
              </a:rPr>
              <a:t>Федерального </a:t>
            </a:r>
            <a:r>
              <a:rPr lang="ru-RU" sz="1600" dirty="0">
                <a:solidFill>
                  <a:schemeClr val="tx1"/>
                </a:solidFill>
              </a:rPr>
              <a:t>закона «Об электроэнергетике» (№ </a:t>
            </a:r>
            <a:r>
              <a:rPr lang="ru-RU" sz="1600" dirty="0" smtClean="0">
                <a:solidFill>
                  <a:schemeClr val="tx1"/>
                </a:solidFill>
              </a:rPr>
              <a:t>00/03-18761/09-14/15-13-4)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1" name="Стрелка вниз 20"/>
          <p:cNvSpPr/>
          <p:nvPr/>
        </p:nvSpPr>
        <p:spPr>
          <a:xfrm>
            <a:off x="4320000" y="4968000"/>
            <a:ext cx="504000" cy="288000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трелка вниз 19"/>
          <p:cNvSpPr/>
          <p:nvPr/>
        </p:nvSpPr>
        <p:spPr>
          <a:xfrm>
            <a:off x="4320000" y="3708000"/>
            <a:ext cx="504000" cy="288000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трелка вниз 8"/>
          <p:cNvSpPr/>
          <p:nvPr/>
        </p:nvSpPr>
        <p:spPr>
          <a:xfrm>
            <a:off x="4320000" y="1980000"/>
            <a:ext cx="504000" cy="288000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4" name="Picture 2" descr="C:\Documents and Settings\yuriryab\Рабочий стол\Шаблон-Мурманск-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1800" y="0"/>
            <a:ext cx="1092200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72" name="Прямоугольник 14"/>
          <p:cNvSpPr>
            <a:spLocks noChangeArrowheads="1"/>
          </p:cNvSpPr>
          <p:nvPr/>
        </p:nvSpPr>
        <p:spPr bwMode="auto">
          <a:xfrm>
            <a:off x="0" y="107340"/>
            <a:ext cx="802798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cap="all" dirty="0" smtClean="0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Проекты федеральных законов</a:t>
            </a:r>
            <a:endParaRPr lang="en-US" cap="all" dirty="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" name="Line 4"/>
          <p:cNvSpPr>
            <a:spLocks noChangeShapeType="1"/>
          </p:cNvSpPr>
          <p:nvPr/>
        </p:nvSpPr>
        <p:spPr bwMode="auto">
          <a:xfrm>
            <a:off x="0" y="548680"/>
            <a:ext cx="673258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252480" y="692696"/>
            <a:ext cx="8640000" cy="32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600" dirty="0">
                <a:solidFill>
                  <a:schemeClr val="tx1"/>
                </a:solidFill>
              </a:rPr>
              <a:t>Снижение платы за технологическое присоединение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51520" y="1008000"/>
            <a:ext cx="8640000" cy="972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4000" indent="-144000">
              <a:spcAft>
                <a:spcPts val="0"/>
              </a:spcAft>
              <a:buFont typeface="Arial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2009 г. – введены льготы для заявителей до 15 кВт</a:t>
            </a:r>
          </a:p>
          <a:p>
            <a:pPr marL="144000" lvl="0" indent="-144000">
              <a:spcAft>
                <a:spcPts val="0"/>
              </a:spcAft>
              <a:buFont typeface="Arial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2011 г. – исключены из платы расходы, связанные с развитием существующей инфраструктуры</a:t>
            </a:r>
          </a:p>
          <a:p>
            <a:pPr marL="144000" lvl="0" indent="-144000">
              <a:spcAft>
                <a:spcPts val="0"/>
              </a:spcAft>
              <a:buFont typeface="Arial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2012 г. – исключен из платы налог на </a:t>
            </a:r>
            <a:r>
              <a:rPr lang="ru-RU" sz="1200" dirty="0" smtClean="0">
                <a:solidFill>
                  <a:schemeClr val="tx1"/>
                </a:solidFill>
              </a:rPr>
              <a:t>прибыль, мероприятия по АСКУЭ, РЗА, ПА, телемеханики и связи</a:t>
            </a:r>
            <a:endParaRPr lang="ru-RU" sz="1200" dirty="0">
              <a:solidFill>
                <a:schemeClr val="tx1"/>
              </a:solidFill>
            </a:endParaRPr>
          </a:p>
          <a:p>
            <a:pPr marL="144000" lvl="0" indent="-144000">
              <a:spcAft>
                <a:spcPts val="0"/>
              </a:spcAft>
              <a:buFont typeface="Arial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2015 г. – заявители до 150 кВт оплачивают не более 50% строительства «последней мили»</a:t>
            </a:r>
          </a:p>
          <a:p>
            <a:pPr marL="144000" lvl="0" indent="-144000">
              <a:spcAft>
                <a:spcPts val="0"/>
              </a:spcAft>
              <a:buFont typeface="Arial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2017 г. – заявители до 150 кВт не оплачивают строительство «последней мили»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51520" y="2592000"/>
            <a:ext cx="2160240" cy="11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200" dirty="0">
                <a:solidFill>
                  <a:schemeClr val="tx1"/>
                </a:solidFill>
              </a:rPr>
              <a:t>для ранее присоединенных </a:t>
            </a:r>
            <a:r>
              <a:rPr lang="ru-RU" sz="1200" dirty="0" smtClean="0">
                <a:solidFill>
                  <a:schemeClr val="tx1"/>
                </a:solidFill>
              </a:rPr>
              <a:t>потребителей:</a:t>
            </a:r>
            <a:r>
              <a:rPr lang="ru-RU" sz="1200" dirty="0">
                <a:solidFill>
                  <a:schemeClr val="tx1"/>
                </a:solidFill>
              </a:rPr>
              <a:t/>
            </a:r>
            <a:br>
              <a:rPr lang="ru-RU" sz="1200" dirty="0">
                <a:solidFill>
                  <a:schemeClr val="tx1"/>
                </a:solidFill>
              </a:rPr>
            </a:br>
            <a:r>
              <a:rPr lang="ru-RU" sz="1200" dirty="0">
                <a:solidFill>
                  <a:schemeClr val="tx1"/>
                </a:solidFill>
              </a:rPr>
              <a:t>рост затрат на оказание услуг по передаче </a:t>
            </a:r>
            <a:r>
              <a:rPr lang="ru-RU" sz="1200" dirty="0" smtClean="0">
                <a:solidFill>
                  <a:schemeClr val="tx1"/>
                </a:solidFill>
              </a:rPr>
              <a:t>электроэнергии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411760" y="2592000"/>
            <a:ext cx="2159760" cy="11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200" dirty="0">
                <a:solidFill>
                  <a:schemeClr val="tx1"/>
                </a:solidFill>
              </a:rPr>
              <a:t>для сетевых </a:t>
            </a:r>
            <a:r>
              <a:rPr lang="ru-RU" sz="1200" dirty="0" smtClean="0">
                <a:solidFill>
                  <a:schemeClr val="tx1"/>
                </a:solidFill>
              </a:rPr>
              <a:t>организаций:</a:t>
            </a:r>
          </a:p>
          <a:p>
            <a:pPr lvl="0" algn="ctr"/>
            <a:r>
              <a:rPr lang="ru-RU" sz="1200" dirty="0">
                <a:solidFill>
                  <a:schemeClr val="tx1"/>
                </a:solidFill>
              </a:rPr>
              <a:t>сокращение источников финансирования мероприятий по реновации электросетевого </a:t>
            </a:r>
            <a:r>
              <a:rPr lang="ru-RU" sz="1200" dirty="0" smtClean="0">
                <a:solidFill>
                  <a:schemeClr val="tx1"/>
                </a:solidFill>
              </a:rPr>
              <a:t>оборудования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572480" y="2592000"/>
            <a:ext cx="2160108" cy="11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200" dirty="0">
                <a:solidFill>
                  <a:schemeClr val="tx1"/>
                </a:solidFill>
              </a:rPr>
              <a:t>для </a:t>
            </a:r>
            <a:r>
              <a:rPr lang="ru-RU" sz="1200" dirty="0" smtClean="0">
                <a:solidFill>
                  <a:schemeClr val="tx1"/>
                </a:solidFill>
              </a:rPr>
              <a:t>заявителей:</a:t>
            </a:r>
          </a:p>
          <a:p>
            <a:pPr lvl="0" algn="ctr"/>
            <a:r>
              <a:rPr lang="ru-RU" sz="1200" dirty="0">
                <a:solidFill>
                  <a:schemeClr val="tx1"/>
                </a:solidFill>
              </a:rPr>
              <a:t>увеличение сроков </a:t>
            </a:r>
            <a:r>
              <a:rPr lang="ru-RU" sz="1200" dirty="0" smtClean="0">
                <a:solidFill>
                  <a:schemeClr val="tx1"/>
                </a:solidFill>
              </a:rPr>
              <a:t>технологического присоединения (особенно в отношении крупных  заявителей)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732588" y="2592000"/>
            <a:ext cx="2159892" cy="11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200" dirty="0" smtClean="0">
                <a:solidFill>
                  <a:schemeClr val="tx1"/>
                </a:solidFill>
              </a:rPr>
              <a:t>для </a:t>
            </a:r>
            <a:r>
              <a:rPr lang="ru-RU" sz="1200" dirty="0">
                <a:solidFill>
                  <a:schemeClr val="tx1"/>
                </a:solidFill>
              </a:rPr>
              <a:t>субъекта Российской </a:t>
            </a:r>
            <a:r>
              <a:rPr lang="ru-RU" sz="1200" dirty="0" smtClean="0">
                <a:solidFill>
                  <a:schemeClr val="tx1"/>
                </a:solidFill>
              </a:rPr>
              <a:t>Федерации:</a:t>
            </a:r>
          </a:p>
          <a:p>
            <a:pPr lvl="0" algn="ctr"/>
            <a:r>
              <a:rPr lang="ru-RU" sz="1200" dirty="0">
                <a:solidFill>
                  <a:schemeClr val="tx1"/>
                </a:solidFill>
              </a:rPr>
              <a:t>ухудшение инвестиционного климата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251520" y="4320000"/>
            <a:ext cx="8640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0"/>
              </a:spcAft>
            </a:pPr>
            <a:r>
              <a:rPr lang="ru-RU" sz="1400" b="1" dirty="0" smtClean="0">
                <a:solidFill>
                  <a:schemeClr val="tx1"/>
                </a:solidFill>
              </a:rPr>
              <a:t>Проблема:</a:t>
            </a:r>
          </a:p>
          <a:p>
            <a:pPr algn="ctr">
              <a:spcAft>
                <a:spcPts val="0"/>
              </a:spcAft>
            </a:pPr>
            <a:r>
              <a:rPr lang="ru-RU" sz="1300" dirty="0" smtClean="0">
                <a:solidFill>
                  <a:schemeClr val="tx1"/>
                </a:solidFill>
              </a:rPr>
              <a:t>Выпадающие доходы сетевых организаций, связанные с неполной компенсацией в тарифах на передачу э/энергии (ввиду ограничения роста тарифа) расходов, понесенных от технологического присоединения</a:t>
            </a:r>
            <a:endParaRPr lang="ru-RU" sz="1300" dirty="0">
              <a:solidFill>
                <a:schemeClr val="tx1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51520" y="6012000"/>
            <a:ext cx="8640000" cy="72936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accent2"/>
            </a:solidFill>
          </a:ln>
          <a:effectLst>
            <a:outerShdw blurRad="40005" dist="2032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4000" lvl="0" indent="-144000">
              <a:spcAft>
                <a:spcPts val="0"/>
              </a:spcAft>
              <a:buFont typeface="Arial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</a:rPr>
              <a:t>предусмотрены </a:t>
            </a:r>
            <a:r>
              <a:rPr lang="ru-RU" sz="1200" dirty="0" smtClean="0">
                <a:solidFill>
                  <a:schemeClr val="tx1"/>
                </a:solidFill>
              </a:rPr>
              <a:t>случаи, при которых инвестиционная составляющая на покрытие расходов сетевых организаций, связанных с развитием </a:t>
            </a:r>
            <a:r>
              <a:rPr lang="ru-RU" sz="1200" dirty="0">
                <a:solidFill>
                  <a:schemeClr val="tx1"/>
                </a:solidFill>
              </a:rPr>
              <a:t>существующей </a:t>
            </a:r>
            <a:r>
              <a:rPr lang="ru-RU" sz="1200" dirty="0" smtClean="0">
                <a:solidFill>
                  <a:schemeClr val="tx1"/>
                </a:solidFill>
              </a:rPr>
              <a:t>инфраструктуры, включается в </a:t>
            </a:r>
            <a:r>
              <a:rPr lang="ru-RU" sz="1200" dirty="0">
                <a:solidFill>
                  <a:schemeClr val="tx1"/>
                </a:solidFill>
              </a:rPr>
              <a:t>плату за </a:t>
            </a:r>
            <a:r>
              <a:rPr lang="ru-RU" sz="1200" dirty="0" smtClean="0">
                <a:solidFill>
                  <a:schemeClr val="tx1"/>
                </a:solidFill>
              </a:rPr>
              <a:t>ТП</a:t>
            </a:r>
            <a:endParaRPr lang="ru-RU" sz="1200" dirty="0">
              <a:solidFill>
                <a:schemeClr val="tx1"/>
              </a:solidFill>
            </a:endParaRPr>
          </a:p>
          <a:p>
            <a:pPr marL="144000" lvl="0" indent="-144000">
              <a:spcAft>
                <a:spcPts val="0"/>
              </a:spcAft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уточнен перечень заявителей, в отношении которых с 1 октября 2015 г. исключаются из платы за ТП расходы на строительство «последней мили» в размере 50%, а с 1 октября 2017 г. – в полном объеме</a:t>
            </a:r>
            <a:endParaRPr lang="ru-RU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68202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arMm4TeU2etDJpsy9S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2D92ea_UU.yJs.dQANv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IfKAGj4E.R2AjJOYCZ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x1zCQP70q0_SglZn08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RKxIDeeEujSupahLyC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gpBR.TRECa1zoXZGDD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CTq_K6PEi5kokjQXVNCw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Layers</Template>
  <TotalTime>10350</TotalTime>
  <Words>1248</Words>
  <Application>Microsoft Office PowerPoint</Application>
  <PresentationFormat>Экран (4:3)</PresentationFormat>
  <Paragraphs>145</Paragraphs>
  <Slides>10</Slides>
  <Notes>1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1" baseType="lpstr">
      <vt:lpstr>Оформление по умолчанию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Минтерразвития МО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интерразвития МО</dc:title>
  <dc:creator>Катин</dc:creator>
  <cp:lastModifiedBy>Компьютер</cp:lastModifiedBy>
  <cp:revision>397</cp:revision>
  <cp:lastPrinted>2015-04-14T08:24:15Z</cp:lastPrinted>
  <dcterms:created xsi:type="dcterms:W3CDTF">2009-12-07T12:28:27Z</dcterms:created>
  <dcterms:modified xsi:type="dcterms:W3CDTF">2015-04-16T13:40:57Z</dcterms:modified>
</cp:coreProperties>
</file>